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660" r:id="rId2"/>
  </p:sldMasterIdLst>
  <p:notesMasterIdLst>
    <p:notesMasterId r:id="rId17"/>
  </p:notesMasterIdLst>
  <p:handoutMasterIdLst>
    <p:handoutMasterId r:id="rId18"/>
  </p:handoutMasterIdLst>
  <p:sldIdLst>
    <p:sldId id="260" r:id="rId3"/>
    <p:sldId id="308" r:id="rId4"/>
    <p:sldId id="271" r:id="rId5"/>
    <p:sldId id="310" r:id="rId6"/>
    <p:sldId id="313" r:id="rId7"/>
    <p:sldId id="294" r:id="rId8"/>
    <p:sldId id="298" r:id="rId9"/>
    <p:sldId id="305" r:id="rId10"/>
    <p:sldId id="314" r:id="rId11"/>
    <p:sldId id="272" r:id="rId12"/>
    <p:sldId id="315" r:id="rId13"/>
    <p:sldId id="307" r:id="rId14"/>
    <p:sldId id="316" r:id="rId15"/>
    <p:sldId id="289" r:id="rId16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Objects="1">
      <p:cViewPr>
        <p:scale>
          <a:sx n="76" d="100"/>
          <a:sy n="76" d="100"/>
        </p:scale>
        <p:origin x="-300" y="23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A1E8ABF-5F28-FC4A-8433-59C0168529D8}" type="doc">
      <dgm:prSet loTypeId="urn:microsoft.com/office/officeart/2005/8/layout/radial4" loCatId="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85BDD4FB-65EC-9B43-8934-F21EF02ACDF7}">
      <dgm:prSet phldrT="[Text]"/>
      <dgm:spPr/>
      <dgm:t>
        <a:bodyPr/>
        <a:lstStyle/>
        <a:p>
          <a:r>
            <a:rPr lang="en-US" dirty="0" smtClean="0"/>
            <a:t>AL Teacher personal context &amp; professional growth</a:t>
          </a:r>
          <a:endParaRPr lang="en-US" dirty="0"/>
        </a:p>
      </dgm:t>
    </dgm:pt>
    <dgm:pt modelId="{14C9E05B-7568-D440-99E5-3FC73987A3F3}" type="parTrans" cxnId="{C100D7B6-BE5B-5A47-B18F-C343C9683E9E}">
      <dgm:prSet/>
      <dgm:spPr/>
      <dgm:t>
        <a:bodyPr/>
        <a:lstStyle/>
        <a:p>
          <a:endParaRPr lang="en-US"/>
        </a:p>
      </dgm:t>
    </dgm:pt>
    <dgm:pt modelId="{42EB65A5-52F3-764F-93B0-48F5A588F00A}" type="sibTrans" cxnId="{C100D7B6-BE5B-5A47-B18F-C343C9683E9E}">
      <dgm:prSet/>
      <dgm:spPr/>
      <dgm:t>
        <a:bodyPr/>
        <a:lstStyle/>
        <a:p>
          <a:endParaRPr lang="en-US"/>
        </a:p>
      </dgm:t>
    </dgm:pt>
    <dgm:pt modelId="{7CC48DDA-6721-1548-A51B-72B45848D17E}">
      <dgm:prSet phldrT="[Text]"/>
      <dgm:spPr/>
      <dgm:t>
        <a:bodyPr/>
        <a:lstStyle/>
        <a:p>
          <a:r>
            <a:rPr lang="en-US" dirty="0" smtClean="0"/>
            <a:t>The Profession:</a:t>
          </a:r>
        </a:p>
        <a:p>
          <a:r>
            <a:rPr lang="en-US" dirty="0" smtClean="0"/>
            <a:t>International trends</a:t>
          </a:r>
        </a:p>
        <a:p>
          <a:endParaRPr lang="en-US" dirty="0" smtClean="0"/>
        </a:p>
      </dgm:t>
    </dgm:pt>
    <dgm:pt modelId="{93E90BBD-163F-D949-9AC5-BA9CC559E33F}" type="parTrans" cxnId="{5FA57A99-FC02-D347-BE7E-88948CFA1283}">
      <dgm:prSet/>
      <dgm:spPr/>
      <dgm:t>
        <a:bodyPr/>
        <a:lstStyle/>
        <a:p>
          <a:endParaRPr lang="en-US"/>
        </a:p>
      </dgm:t>
    </dgm:pt>
    <dgm:pt modelId="{6F3652FA-2398-724B-8814-65DF3C3B7D33}" type="sibTrans" cxnId="{5FA57A99-FC02-D347-BE7E-88948CFA1283}">
      <dgm:prSet/>
      <dgm:spPr/>
      <dgm:t>
        <a:bodyPr/>
        <a:lstStyle/>
        <a:p>
          <a:endParaRPr lang="en-US"/>
        </a:p>
      </dgm:t>
    </dgm:pt>
    <dgm:pt modelId="{9137BBB0-8634-DE40-B1BF-47A023EF1189}">
      <dgm:prSet phldrT="[Text]"/>
      <dgm:spPr/>
      <dgm:t>
        <a:bodyPr/>
        <a:lstStyle/>
        <a:p>
          <a:r>
            <a:rPr lang="en-US" dirty="0" smtClean="0"/>
            <a:t>National Context</a:t>
          </a:r>
        </a:p>
        <a:p>
          <a:r>
            <a:rPr lang="en-US" dirty="0" smtClean="0"/>
            <a:t>Culture, Language</a:t>
          </a:r>
        </a:p>
      </dgm:t>
    </dgm:pt>
    <dgm:pt modelId="{8E916A88-FF0E-2A41-B15B-E6A5524754E2}" type="parTrans" cxnId="{E7D79CFE-532D-4347-8BF3-45F933400605}">
      <dgm:prSet/>
      <dgm:spPr/>
      <dgm:t>
        <a:bodyPr/>
        <a:lstStyle/>
        <a:p>
          <a:endParaRPr lang="en-US"/>
        </a:p>
      </dgm:t>
    </dgm:pt>
    <dgm:pt modelId="{3D0D8B92-EE8D-614C-939F-399FBDEB51D5}" type="sibTrans" cxnId="{E7D79CFE-532D-4347-8BF3-45F933400605}">
      <dgm:prSet/>
      <dgm:spPr/>
      <dgm:t>
        <a:bodyPr/>
        <a:lstStyle/>
        <a:p>
          <a:endParaRPr lang="en-US"/>
        </a:p>
      </dgm:t>
    </dgm:pt>
    <dgm:pt modelId="{625A5217-13FD-2848-BCCF-DD647680BE99}">
      <dgm:prSet phldrT="[Text]"/>
      <dgm:spPr/>
      <dgm:t>
        <a:bodyPr/>
        <a:lstStyle/>
        <a:p>
          <a:r>
            <a:rPr lang="en-US" dirty="0" smtClean="0"/>
            <a:t>International Baccalaureate</a:t>
          </a:r>
        </a:p>
        <a:p>
          <a:r>
            <a:rPr lang="en-US" dirty="0" smtClean="0"/>
            <a:t>Standards &amp; Practices</a:t>
          </a:r>
        </a:p>
      </dgm:t>
    </dgm:pt>
    <dgm:pt modelId="{BF99ECA1-9747-EA47-8F45-FB2B8E6F12E9}" type="parTrans" cxnId="{E4289D4A-B37D-5C41-8413-096DC9FC5BCC}">
      <dgm:prSet/>
      <dgm:spPr/>
      <dgm:t>
        <a:bodyPr/>
        <a:lstStyle/>
        <a:p>
          <a:endParaRPr lang="en-US"/>
        </a:p>
      </dgm:t>
    </dgm:pt>
    <dgm:pt modelId="{3D0157BA-A48B-F54D-AA8E-D9551CED3090}" type="sibTrans" cxnId="{E4289D4A-B37D-5C41-8413-096DC9FC5BCC}">
      <dgm:prSet/>
      <dgm:spPr/>
      <dgm:t>
        <a:bodyPr/>
        <a:lstStyle/>
        <a:p>
          <a:endParaRPr lang="en-US"/>
        </a:p>
      </dgm:t>
    </dgm:pt>
    <dgm:pt modelId="{B9FD0E1C-DE20-B74F-841D-0A5A5A46E09D}">
      <dgm:prSet/>
      <dgm:spPr/>
      <dgm:t>
        <a:bodyPr/>
        <a:lstStyle/>
        <a:p>
          <a:r>
            <a:rPr lang="en-US" dirty="0" smtClean="0"/>
            <a:t>School Context</a:t>
          </a:r>
        </a:p>
        <a:p>
          <a:r>
            <a:rPr lang="en-US" dirty="0" smtClean="0"/>
            <a:t>Leadership</a:t>
          </a:r>
        </a:p>
        <a:p>
          <a:r>
            <a:rPr lang="en-US" dirty="0" smtClean="0"/>
            <a:t>Policies</a:t>
          </a:r>
        </a:p>
        <a:p>
          <a:r>
            <a:rPr lang="en-US" dirty="0" smtClean="0"/>
            <a:t>Practices</a:t>
          </a:r>
        </a:p>
      </dgm:t>
    </dgm:pt>
    <dgm:pt modelId="{E5DE74E9-0311-3E4F-88FC-4E2BE81F7EDE}" type="parTrans" cxnId="{F4450B1D-4D09-064D-99D4-2C5CC5A8F48F}">
      <dgm:prSet/>
      <dgm:spPr/>
      <dgm:t>
        <a:bodyPr/>
        <a:lstStyle/>
        <a:p>
          <a:endParaRPr lang="en-US"/>
        </a:p>
      </dgm:t>
    </dgm:pt>
    <dgm:pt modelId="{D8BD07E0-15D0-2A45-9454-FC5F8BB3705B}" type="sibTrans" cxnId="{F4450B1D-4D09-064D-99D4-2C5CC5A8F48F}">
      <dgm:prSet/>
      <dgm:spPr/>
      <dgm:t>
        <a:bodyPr/>
        <a:lstStyle/>
        <a:p>
          <a:endParaRPr lang="en-US"/>
        </a:p>
      </dgm:t>
    </dgm:pt>
    <dgm:pt modelId="{F9E025C2-2F03-8949-87EC-0937B6B8AB35}" type="pres">
      <dgm:prSet presAssocID="{3A1E8ABF-5F28-FC4A-8433-59C0168529D8}" presName="cycle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FC405C8-CE4C-ED4E-9F21-04B0AF149D60}" type="pres">
      <dgm:prSet presAssocID="{85BDD4FB-65EC-9B43-8934-F21EF02ACDF7}" presName="centerShape" presStyleLbl="node0" presStyleIdx="0" presStyleCnt="1"/>
      <dgm:spPr/>
      <dgm:t>
        <a:bodyPr/>
        <a:lstStyle/>
        <a:p>
          <a:endParaRPr lang="en-US"/>
        </a:p>
      </dgm:t>
    </dgm:pt>
    <dgm:pt modelId="{8D22AF88-AA06-2441-A885-493E0A5936F2}" type="pres">
      <dgm:prSet presAssocID="{93E90BBD-163F-D949-9AC5-BA9CC559E33F}" presName="parTrans" presStyleLbl="bgSibTrans2D1" presStyleIdx="0" presStyleCnt="4"/>
      <dgm:spPr/>
      <dgm:t>
        <a:bodyPr/>
        <a:lstStyle/>
        <a:p>
          <a:endParaRPr lang="en-US"/>
        </a:p>
      </dgm:t>
    </dgm:pt>
    <dgm:pt modelId="{6B334A1F-4734-3A49-8404-05A3EABE8CB6}" type="pres">
      <dgm:prSet presAssocID="{7CC48DDA-6721-1548-A51B-72B45848D17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84864F4-E235-1E4A-AA54-C9CA5BBA61CF}" type="pres">
      <dgm:prSet presAssocID="{8E916A88-FF0E-2A41-B15B-E6A5524754E2}" presName="parTrans" presStyleLbl="bgSibTrans2D1" presStyleIdx="1" presStyleCnt="4"/>
      <dgm:spPr/>
      <dgm:t>
        <a:bodyPr/>
        <a:lstStyle/>
        <a:p>
          <a:endParaRPr lang="en-US"/>
        </a:p>
      </dgm:t>
    </dgm:pt>
    <dgm:pt modelId="{EC4A1B63-E9FC-144B-B8AC-F7D446C033C5}" type="pres">
      <dgm:prSet presAssocID="{9137BBB0-8634-DE40-B1BF-47A023EF1189}" presName="node" presStyleLbl="node1" presStyleIdx="1" presStyleCnt="4" custRadScaleRad="93212" custRadScaleInc="25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24F8785-6DF8-DB4F-8D02-5A67B328BE0F}" type="pres">
      <dgm:prSet presAssocID="{BF99ECA1-9747-EA47-8F45-FB2B8E6F12E9}" presName="parTrans" presStyleLbl="bgSibTrans2D1" presStyleIdx="2" presStyleCnt="4"/>
      <dgm:spPr/>
      <dgm:t>
        <a:bodyPr/>
        <a:lstStyle/>
        <a:p>
          <a:endParaRPr lang="en-US"/>
        </a:p>
      </dgm:t>
    </dgm:pt>
    <dgm:pt modelId="{795404BA-8C77-974F-A694-F782A07BA5CF}" type="pres">
      <dgm:prSet presAssocID="{625A5217-13FD-2848-BCCF-DD647680BE99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C025E7A-8C02-1C49-8694-F18C0CC67646}" type="pres">
      <dgm:prSet presAssocID="{E5DE74E9-0311-3E4F-88FC-4E2BE81F7EDE}" presName="parTrans" presStyleLbl="bgSibTrans2D1" presStyleIdx="3" presStyleCnt="4"/>
      <dgm:spPr/>
      <dgm:t>
        <a:bodyPr/>
        <a:lstStyle/>
        <a:p>
          <a:endParaRPr lang="en-US"/>
        </a:p>
      </dgm:t>
    </dgm:pt>
    <dgm:pt modelId="{5344605A-FB57-4A48-AD95-13D726B2C07A}" type="pres">
      <dgm:prSet presAssocID="{B9FD0E1C-DE20-B74F-841D-0A5A5A46E09D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A871CC9-B5B3-CC4C-8BCB-9E61726663D0}" type="presOf" srcId="{B9FD0E1C-DE20-B74F-841D-0A5A5A46E09D}" destId="{5344605A-FB57-4A48-AD95-13D726B2C07A}" srcOrd="0" destOrd="0" presId="urn:microsoft.com/office/officeart/2005/8/layout/radial4"/>
    <dgm:cxn modelId="{F4450B1D-4D09-064D-99D4-2C5CC5A8F48F}" srcId="{85BDD4FB-65EC-9B43-8934-F21EF02ACDF7}" destId="{B9FD0E1C-DE20-B74F-841D-0A5A5A46E09D}" srcOrd="3" destOrd="0" parTransId="{E5DE74E9-0311-3E4F-88FC-4E2BE81F7EDE}" sibTransId="{D8BD07E0-15D0-2A45-9454-FC5F8BB3705B}"/>
    <dgm:cxn modelId="{ECC6C3F8-0474-C246-AE5F-759D30685672}" type="presOf" srcId="{E5DE74E9-0311-3E4F-88FC-4E2BE81F7EDE}" destId="{7C025E7A-8C02-1C49-8694-F18C0CC67646}" srcOrd="0" destOrd="0" presId="urn:microsoft.com/office/officeart/2005/8/layout/radial4"/>
    <dgm:cxn modelId="{C100D7B6-BE5B-5A47-B18F-C343C9683E9E}" srcId="{3A1E8ABF-5F28-FC4A-8433-59C0168529D8}" destId="{85BDD4FB-65EC-9B43-8934-F21EF02ACDF7}" srcOrd="0" destOrd="0" parTransId="{14C9E05B-7568-D440-99E5-3FC73987A3F3}" sibTransId="{42EB65A5-52F3-764F-93B0-48F5A588F00A}"/>
    <dgm:cxn modelId="{0BB2C6B0-A33B-B746-ABCD-F5AEFF621D53}" type="presOf" srcId="{BF99ECA1-9747-EA47-8F45-FB2B8E6F12E9}" destId="{024F8785-6DF8-DB4F-8D02-5A67B328BE0F}" srcOrd="0" destOrd="0" presId="urn:microsoft.com/office/officeart/2005/8/layout/radial4"/>
    <dgm:cxn modelId="{5FA57A99-FC02-D347-BE7E-88948CFA1283}" srcId="{85BDD4FB-65EC-9B43-8934-F21EF02ACDF7}" destId="{7CC48DDA-6721-1548-A51B-72B45848D17E}" srcOrd="0" destOrd="0" parTransId="{93E90BBD-163F-D949-9AC5-BA9CC559E33F}" sibTransId="{6F3652FA-2398-724B-8814-65DF3C3B7D33}"/>
    <dgm:cxn modelId="{298FE921-404A-A844-BDAA-703D84C146F7}" type="presOf" srcId="{85BDD4FB-65EC-9B43-8934-F21EF02ACDF7}" destId="{6FC405C8-CE4C-ED4E-9F21-04B0AF149D60}" srcOrd="0" destOrd="0" presId="urn:microsoft.com/office/officeart/2005/8/layout/radial4"/>
    <dgm:cxn modelId="{5C4C7255-64DB-7E46-A44F-E1F189994635}" type="presOf" srcId="{625A5217-13FD-2848-BCCF-DD647680BE99}" destId="{795404BA-8C77-974F-A694-F782A07BA5CF}" srcOrd="0" destOrd="0" presId="urn:microsoft.com/office/officeart/2005/8/layout/radial4"/>
    <dgm:cxn modelId="{E7D79CFE-532D-4347-8BF3-45F933400605}" srcId="{85BDD4FB-65EC-9B43-8934-F21EF02ACDF7}" destId="{9137BBB0-8634-DE40-B1BF-47A023EF1189}" srcOrd="1" destOrd="0" parTransId="{8E916A88-FF0E-2A41-B15B-E6A5524754E2}" sibTransId="{3D0D8B92-EE8D-614C-939F-399FBDEB51D5}"/>
    <dgm:cxn modelId="{D58FEB2A-F816-244A-AD74-64F963BA57D9}" type="presOf" srcId="{8E916A88-FF0E-2A41-B15B-E6A5524754E2}" destId="{784864F4-E235-1E4A-AA54-C9CA5BBA61CF}" srcOrd="0" destOrd="0" presId="urn:microsoft.com/office/officeart/2005/8/layout/radial4"/>
    <dgm:cxn modelId="{E4289D4A-B37D-5C41-8413-096DC9FC5BCC}" srcId="{85BDD4FB-65EC-9B43-8934-F21EF02ACDF7}" destId="{625A5217-13FD-2848-BCCF-DD647680BE99}" srcOrd="2" destOrd="0" parTransId="{BF99ECA1-9747-EA47-8F45-FB2B8E6F12E9}" sibTransId="{3D0157BA-A48B-F54D-AA8E-D9551CED3090}"/>
    <dgm:cxn modelId="{32695891-2899-EF48-8B36-2269C0636EFE}" type="presOf" srcId="{7CC48DDA-6721-1548-A51B-72B45848D17E}" destId="{6B334A1F-4734-3A49-8404-05A3EABE8CB6}" srcOrd="0" destOrd="0" presId="urn:microsoft.com/office/officeart/2005/8/layout/radial4"/>
    <dgm:cxn modelId="{34D03039-51DC-BD4E-BC5E-8D7CE31117AF}" type="presOf" srcId="{9137BBB0-8634-DE40-B1BF-47A023EF1189}" destId="{EC4A1B63-E9FC-144B-B8AC-F7D446C033C5}" srcOrd="0" destOrd="0" presId="urn:microsoft.com/office/officeart/2005/8/layout/radial4"/>
    <dgm:cxn modelId="{FEB639D1-DE84-2E4F-94A4-3A1B4F37B1C8}" type="presOf" srcId="{3A1E8ABF-5F28-FC4A-8433-59C0168529D8}" destId="{F9E025C2-2F03-8949-87EC-0937B6B8AB35}" srcOrd="0" destOrd="0" presId="urn:microsoft.com/office/officeart/2005/8/layout/radial4"/>
    <dgm:cxn modelId="{A180EC2A-D046-7046-9242-417D17E432C6}" type="presOf" srcId="{93E90BBD-163F-D949-9AC5-BA9CC559E33F}" destId="{8D22AF88-AA06-2441-A885-493E0A5936F2}" srcOrd="0" destOrd="0" presId="urn:microsoft.com/office/officeart/2005/8/layout/radial4"/>
    <dgm:cxn modelId="{6818E87A-6D42-C94C-9212-D3ACCE6315D9}" type="presParOf" srcId="{F9E025C2-2F03-8949-87EC-0937B6B8AB35}" destId="{6FC405C8-CE4C-ED4E-9F21-04B0AF149D60}" srcOrd="0" destOrd="0" presId="urn:microsoft.com/office/officeart/2005/8/layout/radial4"/>
    <dgm:cxn modelId="{3D2C157D-6BDE-C24B-9106-1BC44FF7F180}" type="presParOf" srcId="{F9E025C2-2F03-8949-87EC-0937B6B8AB35}" destId="{8D22AF88-AA06-2441-A885-493E0A5936F2}" srcOrd="1" destOrd="0" presId="urn:microsoft.com/office/officeart/2005/8/layout/radial4"/>
    <dgm:cxn modelId="{AE035149-8ABA-F94F-BD12-988226D9DFD2}" type="presParOf" srcId="{F9E025C2-2F03-8949-87EC-0937B6B8AB35}" destId="{6B334A1F-4734-3A49-8404-05A3EABE8CB6}" srcOrd="2" destOrd="0" presId="urn:microsoft.com/office/officeart/2005/8/layout/radial4"/>
    <dgm:cxn modelId="{2293A929-0A31-6C4E-BDE0-3D9E6F0EABA7}" type="presParOf" srcId="{F9E025C2-2F03-8949-87EC-0937B6B8AB35}" destId="{784864F4-E235-1E4A-AA54-C9CA5BBA61CF}" srcOrd="3" destOrd="0" presId="urn:microsoft.com/office/officeart/2005/8/layout/radial4"/>
    <dgm:cxn modelId="{7B3EEC1A-DBF5-5A42-843A-5622188C0FE7}" type="presParOf" srcId="{F9E025C2-2F03-8949-87EC-0937B6B8AB35}" destId="{EC4A1B63-E9FC-144B-B8AC-F7D446C033C5}" srcOrd="4" destOrd="0" presId="urn:microsoft.com/office/officeart/2005/8/layout/radial4"/>
    <dgm:cxn modelId="{2257DACB-B4AF-0048-A57D-1BF03630F864}" type="presParOf" srcId="{F9E025C2-2F03-8949-87EC-0937B6B8AB35}" destId="{024F8785-6DF8-DB4F-8D02-5A67B328BE0F}" srcOrd="5" destOrd="0" presId="urn:microsoft.com/office/officeart/2005/8/layout/radial4"/>
    <dgm:cxn modelId="{8CB950BA-033B-3446-80FF-018A3AEA6880}" type="presParOf" srcId="{F9E025C2-2F03-8949-87EC-0937B6B8AB35}" destId="{795404BA-8C77-974F-A694-F782A07BA5CF}" srcOrd="6" destOrd="0" presId="urn:microsoft.com/office/officeart/2005/8/layout/radial4"/>
    <dgm:cxn modelId="{E2C5C17C-3C85-4149-A2C9-C5B70A9EFE3F}" type="presParOf" srcId="{F9E025C2-2F03-8949-87EC-0937B6B8AB35}" destId="{7C025E7A-8C02-1C49-8694-F18C0CC67646}" srcOrd="7" destOrd="0" presId="urn:microsoft.com/office/officeart/2005/8/layout/radial4"/>
    <dgm:cxn modelId="{24D92C51-D36E-314D-BC56-F25E6C2AAC86}" type="presParOf" srcId="{F9E025C2-2F03-8949-87EC-0937B6B8AB35}" destId="{5344605A-FB57-4A48-AD95-13D726B2C07A}" srcOrd="8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FC405C8-CE4C-ED4E-9F21-04B0AF149D60}">
      <dsp:nvSpPr>
        <dsp:cNvPr id="0" name=""/>
        <dsp:cNvSpPr/>
      </dsp:nvSpPr>
      <dsp:spPr>
        <a:xfrm>
          <a:off x="3105160" y="2628112"/>
          <a:ext cx="2296967" cy="229696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AL Teacher personal context &amp; professional growth</a:t>
          </a:r>
          <a:endParaRPr lang="en-US" sz="2200" kern="1200" dirty="0"/>
        </a:p>
      </dsp:txBody>
      <dsp:txXfrm>
        <a:off x="3441543" y="2964495"/>
        <a:ext cx="1624201" cy="1624201"/>
      </dsp:txXfrm>
    </dsp:sp>
    <dsp:sp modelId="{8D22AF88-AA06-2441-A885-493E0A5936F2}">
      <dsp:nvSpPr>
        <dsp:cNvPr id="0" name=""/>
        <dsp:cNvSpPr/>
      </dsp:nvSpPr>
      <dsp:spPr>
        <a:xfrm rot="11700000">
          <a:off x="1125860" y="2871414"/>
          <a:ext cx="1942331" cy="654635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B334A1F-4734-3A49-8404-05A3EABE8CB6}">
      <dsp:nvSpPr>
        <dsp:cNvPr id="0" name=""/>
        <dsp:cNvSpPr/>
      </dsp:nvSpPr>
      <dsp:spPr>
        <a:xfrm>
          <a:off x="67892" y="2074528"/>
          <a:ext cx="2182119" cy="17456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The Profession: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International trends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 dirty="0" smtClean="0"/>
        </a:p>
      </dsp:txBody>
      <dsp:txXfrm>
        <a:off x="119022" y="2125658"/>
        <a:ext cx="2079859" cy="1643435"/>
      </dsp:txXfrm>
    </dsp:sp>
    <dsp:sp modelId="{784864F4-E235-1E4A-AA54-C9CA5BBA61CF}">
      <dsp:nvSpPr>
        <dsp:cNvPr id="0" name=""/>
        <dsp:cNvSpPr/>
      </dsp:nvSpPr>
      <dsp:spPr>
        <a:xfrm rot="14768364">
          <a:off x="2528488" y="1512320"/>
          <a:ext cx="1736814" cy="654635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C4A1B63-E9FC-144B-B8AC-F7D446C033C5}">
      <dsp:nvSpPr>
        <dsp:cNvPr id="0" name=""/>
        <dsp:cNvSpPr/>
      </dsp:nvSpPr>
      <dsp:spPr>
        <a:xfrm>
          <a:off x="1954554" y="172604"/>
          <a:ext cx="2182119" cy="17456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National Context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Culture, Language</a:t>
          </a:r>
        </a:p>
      </dsp:txBody>
      <dsp:txXfrm>
        <a:off x="2005684" y="223734"/>
        <a:ext cx="2079859" cy="1643435"/>
      </dsp:txXfrm>
    </dsp:sp>
    <dsp:sp modelId="{024F8785-6DF8-DB4F-8D02-5A67B328BE0F}">
      <dsp:nvSpPr>
        <dsp:cNvPr id="0" name=""/>
        <dsp:cNvSpPr/>
      </dsp:nvSpPr>
      <dsp:spPr>
        <a:xfrm rot="17700000">
          <a:off x="4226056" y="1425768"/>
          <a:ext cx="1942331" cy="654635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95404BA-8C77-974F-A694-F782A07BA5CF}">
      <dsp:nvSpPr>
        <dsp:cNvPr id="0" name=""/>
        <dsp:cNvSpPr/>
      </dsp:nvSpPr>
      <dsp:spPr>
        <a:xfrm>
          <a:off x="4516594" y="64"/>
          <a:ext cx="2182119" cy="17456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International Baccalaureate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Standards &amp; Practices</a:t>
          </a:r>
        </a:p>
      </dsp:txBody>
      <dsp:txXfrm>
        <a:off x="4567724" y="51194"/>
        <a:ext cx="2079859" cy="1643435"/>
      </dsp:txXfrm>
    </dsp:sp>
    <dsp:sp modelId="{7C025E7A-8C02-1C49-8694-F18C0CC67646}">
      <dsp:nvSpPr>
        <dsp:cNvPr id="0" name=""/>
        <dsp:cNvSpPr/>
      </dsp:nvSpPr>
      <dsp:spPr>
        <a:xfrm rot="20700000">
          <a:off x="5439096" y="2871414"/>
          <a:ext cx="1942331" cy="654635"/>
        </a:xfrm>
        <a:prstGeom prst="lef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5344605A-FB57-4A48-AD95-13D726B2C07A}">
      <dsp:nvSpPr>
        <dsp:cNvPr id="0" name=""/>
        <dsp:cNvSpPr/>
      </dsp:nvSpPr>
      <dsp:spPr>
        <a:xfrm>
          <a:off x="6257276" y="2074528"/>
          <a:ext cx="2182119" cy="174569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0005" tIns="40005" rIns="40005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School Context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Leadership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Policies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Practices</a:t>
          </a:r>
        </a:p>
      </dsp:txBody>
      <dsp:txXfrm>
        <a:off x="6308406" y="2125658"/>
        <a:ext cx="2079859" cy="16434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7D10BA-7DC1-D440-91C2-23922AEAB132}" type="datetimeFigureOut">
              <a:rPr lang="en-US" smtClean="0"/>
              <a:pPr/>
              <a:t>11/1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F9D499-2FB7-A940-820A-47357F2D7B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74262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4C27FC-621D-2E4F-93F9-5216EE9E90EB}" type="datetimeFigureOut">
              <a:rPr lang="en-US" smtClean="0"/>
              <a:pPr/>
              <a:t>11/10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AU" smtClean="0"/>
              <a:t>Click to edit Master text styles</a:t>
            </a:r>
          </a:p>
          <a:p>
            <a:pPr lvl="1"/>
            <a:r>
              <a:rPr lang="en-AU" smtClean="0"/>
              <a:t>Second level</a:t>
            </a:r>
          </a:p>
          <a:p>
            <a:pPr lvl="2"/>
            <a:r>
              <a:rPr lang="en-AU" smtClean="0"/>
              <a:t>Third level</a:t>
            </a:r>
          </a:p>
          <a:p>
            <a:pPr lvl="3"/>
            <a:r>
              <a:rPr lang="en-AU" smtClean="0"/>
              <a:t>Fourth level</a:t>
            </a:r>
          </a:p>
          <a:p>
            <a:pPr lvl="4"/>
            <a:r>
              <a:rPr lang="en-AU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D02AA6-8339-6341-8A31-C2C1C095EA4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4684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ue- welcome</a:t>
            </a:r>
            <a:r>
              <a:rPr lang="en-US" baseline="0" dirty="0" smtClean="0"/>
              <a:t> and structure of session – how and why? Everyone does PIP and PI star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02AA6-8339-6341-8A31-C2C1C095EA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59172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AF5110-7471-B647-8011-4293670563B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6538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err="1" smtClean="0"/>
              <a:t>geraldin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02AA6-8339-6341-8A31-C2C1C095EA44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9744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02AA6-8339-6341-8A31-C2C1C095EA44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9057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2B318A0-474A-1544-B502-3B92A1E138AB}" type="slidenum">
              <a:rPr lang="de-DE"/>
              <a:pPr/>
              <a:t>5</a:t>
            </a:fld>
            <a:endParaRPr lang="de-DE"/>
          </a:p>
        </p:txBody>
      </p:sp>
      <p:sp>
        <p:nvSpPr>
          <p:cNvPr id="40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su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02AA6-8339-6341-8A31-C2C1C095EA44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3153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m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D02AA6-8339-6341-8A31-C2C1C095EA4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132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609600"/>
            <a:ext cx="6705600" cy="808038"/>
          </a:xfrm>
        </p:spPr>
        <p:txBody>
          <a:bodyPr>
            <a:noAutofit/>
          </a:bodyPr>
          <a:lstStyle>
            <a:lvl1pPr algn="l">
              <a:defRPr sz="3200">
                <a:latin typeface="Verdana"/>
                <a:cs typeface="Verdana"/>
              </a:defRPr>
            </a:lvl1pPr>
          </a:lstStyle>
          <a:p>
            <a:r>
              <a:rPr lang="en-AU" dirty="0" smtClean="0"/>
              <a:t>Click to add tit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 marL="457200" indent="-457200">
              <a:spcBef>
                <a:spcPts val="1200"/>
              </a:spcBef>
              <a:buFont typeface="Arial"/>
              <a:buChar char="•"/>
              <a:defRPr sz="2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AU" dirty="0" smtClean="0"/>
              <a:t>Click to add text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7563"/>
            <a:ext cx="8229600" cy="595312"/>
          </a:xfrm>
          <a:prstGeom prst="rect">
            <a:avLst/>
          </a:prstGeom>
        </p:spPr>
        <p:txBody>
          <a:bodyPr/>
          <a:lstStyle/>
          <a:p>
            <a:r>
              <a:rPr lang="en-AU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628775"/>
            <a:ext cx="8229600" cy="4464050"/>
          </a:xfrm>
          <a:prstGeom prst="rect">
            <a:avLst/>
          </a:prstGeom>
        </p:spPr>
        <p:txBody>
          <a:bodyPr/>
          <a:lstStyle/>
          <a:p>
            <a:pPr lvl="0"/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3321712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5A7C29F-7E70-BF4F-970C-22F6407703C3}" type="slidenum">
              <a:rPr lang="de-DE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50930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42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AU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AU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036F746-AD67-9F43-B3B6-3076D2510E1C}" type="datetimeFigureOut">
              <a:rPr lang="en-US" smtClean="0"/>
              <a:pPr/>
              <a:t>11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860C805-36DB-EC4B-AFA9-C16EFAE6EBC4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7XXX-Powerpoint Template_1_p2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73D934-51C7-5E49-84CF-DEA636EEA120}" type="datetimeFigureOut">
              <a:rPr lang="en-US" smtClean="0"/>
              <a:pPr/>
              <a:t>11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F4F1E8-EC8D-B04D-B431-5C564326A333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None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7XXX-Powerpoint Template_4_p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" y="15240"/>
            <a:ext cx="9121140" cy="682752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mailto:s.ledger@murdoch.edu.au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3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5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eacherstandards.aitsl.edu.au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ustraliancurriculum.edu.au/" TargetMode="Externa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1520" y="2780928"/>
            <a:ext cx="8784976" cy="2088232"/>
          </a:xfrm>
        </p:spPr>
        <p:txBody>
          <a:bodyPr/>
          <a:lstStyle/>
          <a:p>
            <a:pPr algn="l"/>
            <a:r>
              <a:rPr lang="en-US" sz="3200" i="1" dirty="0"/>
              <a:t>More than a second </a:t>
            </a:r>
            <a:r>
              <a:rPr lang="en-US" sz="3200" i="1" dirty="0" smtClean="0"/>
              <a:t>language:</a:t>
            </a:r>
            <a:br>
              <a:rPr lang="en-US" sz="3200" i="1" dirty="0" smtClean="0"/>
            </a:br>
            <a:r>
              <a:rPr lang="en-US" sz="3200" i="1" dirty="0" smtClean="0"/>
              <a:t>Leadership </a:t>
            </a:r>
            <a:r>
              <a:rPr lang="en-US" sz="3200" i="1" dirty="0"/>
              <a:t>structures and pedagogic </a:t>
            </a:r>
            <a:r>
              <a:rPr lang="en-US" sz="3200" i="1" dirty="0" smtClean="0"/>
              <a:t>strategies – across six countries</a:t>
            </a:r>
            <a:br>
              <a:rPr lang="en-US" sz="3200" i="1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dirty="0" smtClean="0"/>
              <a:t/>
            </a:r>
            <a:br>
              <a:rPr lang="en-AU" dirty="0" smtClean="0"/>
            </a:br>
            <a:r>
              <a:rPr lang="en-AU" sz="3200" dirty="0" smtClean="0">
                <a:solidFill>
                  <a:srgbClr val="FF6600"/>
                </a:solidFill>
              </a:rPr>
              <a:t>AIE Mumbai, October 2014</a:t>
            </a:r>
            <a:endParaRPr lang="en-AU" sz="3200" dirty="0">
              <a:solidFill>
                <a:srgbClr val="FF66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E2751D"/>
                </a:solidFill>
              </a:rPr>
              <a:t>Overall findings</a:t>
            </a:r>
            <a:endParaRPr lang="en-US" b="1" dirty="0">
              <a:solidFill>
                <a:srgbClr val="E2751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17638"/>
            <a:ext cx="8507288" cy="5589240"/>
          </a:xfrm>
        </p:spPr>
        <p:txBody>
          <a:bodyPr/>
          <a:lstStyle/>
          <a:p>
            <a:r>
              <a:rPr lang="en-US" sz="1800" dirty="0" smtClean="0"/>
              <a:t>The school leadership support and understanding of additional languages and intercultural understandings determined successful implementation.</a:t>
            </a:r>
          </a:p>
          <a:p>
            <a:r>
              <a:rPr lang="en-US" sz="1800" dirty="0" smtClean="0"/>
              <a:t>The school’s </a:t>
            </a:r>
            <a:r>
              <a:rPr lang="en-US" sz="1800" dirty="0"/>
              <a:t>language </a:t>
            </a:r>
            <a:r>
              <a:rPr lang="en-US" sz="1800" dirty="0" smtClean="0"/>
              <a:t>policy was important </a:t>
            </a:r>
            <a:r>
              <a:rPr lang="en-US" sz="1800" dirty="0"/>
              <a:t>in framing language learning and intercultural </a:t>
            </a:r>
            <a:r>
              <a:rPr lang="en-US" sz="1800" dirty="0" smtClean="0"/>
              <a:t>understandings. </a:t>
            </a:r>
          </a:p>
          <a:p>
            <a:r>
              <a:rPr lang="en-US" sz="1800" dirty="0" err="1" smtClean="0"/>
              <a:t>Organisational</a:t>
            </a:r>
            <a:r>
              <a:rPr lang="en-US" sz="1800" dirty="0" smtClean="0"/>
              <a:t> structures within the school impacted programs.</a:t>
            </a:r>
            <a:endParaRPr lang="en-US" sz="1800" dirty="0"/>
          </a:p>
          <a:p>
            <a:r>
              <a:rPr lang="en-US" sz="1800" dirty="0" smtClean="0"/>
              <a:t>Teachers </a:t>
            </a:r>
            <a:r>
              <a:rPr lang="en-US" sz="1800" dirty="0"/>
              <a:t>and parents from the Asia pacific regions </a:t>
            </a:r>
            <a:r>
              <a:rPr lang="en-US" sz="1800" dirty="0" smtClean="0"/>
              <a:t>have </a:t>
            </a:r>
            <a:r>
              <a:rPr lang="en-US" sz="1800" dirty="0"/>
              <a:t>a greater concern or </a:t>
            </a:r>
            <a:r>
              <a:rPr lang="en-US" sz="1800" dirty="0" smtClean="0"/>
              <a:t>struggle </a:t>
            </a:r>
            <a:r>
              <a:rPr lang="en-US" sz="1800" dirty="0"/>
              <a:t>over the systematic learning of the additional </a:t>
            </a:r>
            <a:r>
              <a:rPr lang="en-US" sz="1800" dirty="0" smtClean="0"/>
              <a:t>language</a:t>
            </a:r>
            <a:r>
              <a:rPr lang="en-US" sz="1800" dirty="0"/>
              <a:t>s</a:t>
            </a:r>
          </a:p>
          <a:p>
            <a:r>
              <a:rPr lang="en-US" sz="1800" dirty="0"/>
              <a:t>S</a:t>
            </a:r>
            <a:r>
              <a:rPr lang="en-US" sz="1800" dirty="0" smtClean="0"/>
              <a:t>ociocultural factors within the school cohort affected ALT and ALL at the local level</a:t>
            </a:r>
          </a:p>
          <a:p>
            <a:r>
              <a:rPr lang="en-US" sz="1800" dirty="0" smtClean="0"/>
              <a:t>Appreciation for the culture of the AL impacted ALL</a:t>
            </a:r>
          </a:p>
          <a:p>
            <a:r>
              <a:rPr lang="en-US" sz="1800" dirty="0"/>
              <a:t>Language Learning involves: learning language, learning through language and learning about language. </a:t>
            </a:r>
          </a:p>
          <a:p>
            <a:endParaRPr 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50" y="222251"/>
            <a:ext cx="8229600" cy="59531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E2751D"/>
                </a:solidFill>
              </a:rPr>
              <a:t>Beliefs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8500" y="620688"/>
            <a:ext cx="9125500" cy="7017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r>
              <a:rPr lang="en-US" sz="2400" dirty="0" smtClean="0"/>
              <a:t>Teachers and parents continually referred to the IB</a:t>
            </a:r>
          </a:p>
          <a:p>
            <a:r>
              <a:rPr lang="en-US" sz="2400" dirty="0" smtClean="0"/>
              <a:t>learner profile as a tool for developing intercultural understandings.  In each setting they reminded the researchers that it is the key to culture and instruction. They taught it and </a:t>
            </a:r>
            <a:r>
              <a:rPr lang="en-US" sz="2400" dirty="0" err="1" smtClean="0"/>
              <a:t>modelled</a:t>
            </a:r>
            <a:r>
              <a:rPr lang="en-US" sz="2400" dirty="0" smtClean="0"/>
              <a:t> it with the school community. </a:t>
            </a:r>
          </a:p>
          <a:p>
            <a:endParaRPr lang="en-US" sz="2800" dirty="0" smtClean="0"/>
          </a:p>
          <a:p>
            <a:r>
              <a:rPr lang="en-US" sz="2000" i="1" dirty="0" smtClean="0"/>
              <a:t>“The Learner Profile is really just who we are. It is just the language we speak with children. Whether you are a German teacher, English teacher, a custodian, a front office clerk or a principal, it </a:t>
            </a:r>
            <a:r>
              <a:rPr lang="en-US" sz="2000" i="1" dirty="0" err="1" smtClean="0"/>
              <a:t>doesn</a:t>
            </a:r>
            <a:r>
              <a:rPr lang="fr-FR" sz="2000" i="1" dirty="0" smtClean="0"/>
              <a:t>’</a:t>
            </a:r>
            <a:r>
              <a:rPr lang="en-US" sz="2000" i="1" dirty="0" smtClean="0"/>
              <a:t>t matter. It is the language you speak, it is how we are with children” (Principal S6).</a:t>
            </a:r>
          </a:p>
          <a:p>
            <a:endParaRPr lang="en-US" sz="2000" i="1" dirty="0"/>
          </a:p>
          <a:p>
            <a:r>
              <a:rPr lang="en-US" sz="2000" i="1" dirty="0" smtClean="0"/>
              <a:t>My children have opened up my eyes to another culture, we are planning a trip to Japan, it will be our first trip out of our country (Parent S2)</a:t>
            </a:r>
          </a:p>
          <a:p>
            <a:endParaRPr lang="en-US" sz="2000" i="1" dirty="0"/>
          </a:p>
          <a:p>
            <a:r>
              <a:rPr lang="en-US" sz="2000" i="1" dirty="0" smtClean="0"/>
              <a:t>Students become aware that there exists a whole group of people functioning and working in a different culture and language being slightly different to them (Teacher S3)</a:t>
            </a:r>
          </a:p>
          <a:p>
            <a:endParaRPr lang="en-US" sz="3200" dirty="0"/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3623102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22251"/>
            <a:ext cx="8229600" cy="595312"/>
          </a:xfrm>
        </p:spPr>
        <p:txBody>
          <a:bodyPr>
            <a:normAutofit fontScale="90000"/>
          </a:bodyPr>
          <a:lstStyle/>
          <a:p>
            <a:pPr algn="l"/>
            <a:r>
              <a:rPr lang="en-US" b="1" dirty="0" smtClean="0">
                <a:solidFill>
                  <a:srgbClr val="E2751D"/>
                </a:solidFill>
              </a:rPr>
              <a:t>Discussion  &amp; links to research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0" y="1052736"/>
            <a:ext cx="8964488" cy="7140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200" dirty="0" smtClean="0"/>
              <a:t>School leadership at the forefront of successful school </a:t>
            </a:r>
          </a:p>
          <a:p>
            <a:r>
              <a:rPr lang="en-US" sz="2200" dirty="0" smtClean="0"/>
              <a:t>	programs and improvement (</a:t>
            </a:r>
            <a:r>
              <a:rPr lang="en-US" sz="2200" dirty="0" err="1" smtClean="0"/>
              <a:t>Dufour</a:t>
            </a:r>
            <a:r>
              <a:rPr lang="en-US" sz="2200" dirty="0" smtClean="0"/>
              <a:t> &amp; </a:t>
            </a:r>
            <a:r>
              <a:rPr lang="en-US" sz="2200" dirty="0" err="1" smtClean="0"/>
              <a:t>Eaker</a:t>
            </a:r>
            <a:r>
              <a:rPr lang="en-US" sz="2200" dirty="0" smtClean="0"/>
              <a:t>, 1998; Gillespie, 2010) </a:t>
            </a:r>
          </a:p>
          <a:p>
            <a:pPr marL="342900" indent="-342900">
              <a:buFont typeface="Arial"/>
              <a:buChar char="•"/>
            </a:pPr>
            <a:endParaRPr lang="en-US" sz="2200" dirty="0" smtClean="0"/>
          </a:p>
          <a:p>
            <a:pPr marL="342900" indent="-342900">
              <a:buFont typeface="Arial"/>
              <a:buChar char="•"/>
            </a:pPr>
            <a:r>
              <a:rPr lang="en-US" sz="2200" dirty="0" smtClean="0"/>
              <a:t>Strong leadership from principal and IBPYP coordinator particularly their belief and support of the IB philosophy determines active promotion of the program within the school (</a:t>
            </a:r>
            <a:r>
              <a:rPr lang="en-US" sz="2200" dirty="0" err="1" smtClean="0"/>
              <a:t>Hallinger</a:t>
            </a:r>
            <a:r>
              <a:rPr lang="en-US" sz="2200" dirty="0" smtClean="0"/>
              <a:t> et al, 2010)</a:t>
            </a:r>
          </a:p>
          <a:p>
            <a:pPr marL="342900" indent="-342900">
              <a:buFont typeface="Arial"/>
              <a:buChar char="•"/>
            </a:pPr>
            <a:endParaRPr lang="en-US" sz="2200" dirty="0" smtClean="0"/>
          </a:p>
          <a:p>
            <a:pPr marL="342900" indent="-342900">
              <a:buFont typeface="Arial"/>
              <a:buChar char="•"/>
            </a:pPr>
            <a:r>
              <a:rPr lang="en-US" sz="2200" dirty="0" smtClean="0"/>
              <a:t>Trust level and value alignment of school leadership influences implementation (</a:t>
            </a:r>
            <a:r>
              <a:rPr lang="en-US" sz="2200" dirty="0"/>
              <a:t>Hall et al, </a:t>
            </a:r>
            <a:r>
              <a:rPr lang="en-US" sz="2200" dirty="0" smtClean="0"/>
              <a:t>2009) </a:t>
            </a:r>
          </a:p>
          <a:p>
            <a:pPr marL="342900" indent="-342900">
              <a:buFont typeface="Arial"/>
              <a:buChar char="•"/>
            </a:pPr>
            <a:endParaRPr lang="en-US" sz="2200" dirty="0" smtClean="0"/>
          </a:p>
          <a:p>
            <a:pPr marL="285750" indent="-285750">
              <a:buFont typeface="Arial"/>
              <a:buChar char="•"/>
            </a:pPr>
            <a:r>
              <a:rPr lang="en-US" sz="2200" dirty="0"/>
              <a:t>Developing cultural proficiency in the leadership enhances the school culture (Van </a:t>
            </a:r>
            <a:r>
              <a:rPr lang="en-US" sz="2200" dirty="0" err="1"/>
              <a:t>Vooren</a:t>
            </a:r>
            <a:r>
              <a:rPr lang="en-US" sz="2200" dirty="0"/>
              <a:t> &amp; Lindsay, 2012</a:t>
            </a:r>
            <a:r>
              <a:rPr lang="en-US" sz="2200" dirty="0" smtClean="0"/>
              <a:t>)</a:t>
            </a:r>
          </a:p>
          <a:p>
            <a:pPr marL="285750" indent="-285750">
              <a:buFont typeface="Arial"/>
              <a:buChar char="•"/>
            </a:pPr>
            <a:endParaRPr lang="en-US" sz="2200" dirty="0"/>
          </a:p>
          <a:p>
            <a:pPr marL="285750" indent="-285750">
              <a:buFont typeface="Arial"/>
              <a:buChar char="•"/>
            </a:pPr>
            <a:r>
              <a:rPr lang="en-US" sz="2200" dirty="0" smtClean="0"/>
              <a:t>Cultural bubbles that exist in some international schools represent language classrooms - the connections can be contrived and superficial if intercultural understandings are not developed (Katz, 2011; Pearce, 1994; Shawn, 2008)</a:t>
            </a:r>
          </a:p>
          <a:p>
            <a:pPr marL="285750" indent="-285750">
              <a:buFont typeface="Arial"/>
              <a:buChar char="•"/>
            </a:pPr>
            <a:endParaRPr lang="en-US" sz="2400" dirty="0"/>
          </a:p>
          <a:p>
            <a:pPr marL="285750" indent="-285750">
              <a:buFont typeface="Arial"/>
              <a:buChar char="•"/>
            </a:pPr>
            <a:endParaRPr lang="en-US" sz="2400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7489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60648"/>
            <a:ext cx="8229600" cy="936103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E2751D"/>
                </a:solidFill>
              </a:rPr>
              <a:t>Conclusion</a:t>
            </a:r>
            <a:r>
              <a:rPr lang="en-US" b="1" dirty="0">
                <a:solidFill>
                  <a:srgbClr val="E2751D"/>
                </a:solidFill>
              </a:rPr>
              <a:t/>
            </a:r>
            <a:br>
              <a:rPr lang="en-US" b="1" dirty="0">
                <a:solidFill>
                  <a:srgbClr val="E2751D"/>
                </a:solidFill>
              </a:rPr>
            </a:b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83736" y="1844824"/>
            <a:ext cx="9060264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800" dirty="0"/>
              <a:t>The study revealed that </a:t>
            </a:r>
            <a:r>
              <a:rPr lang="en-US" sz="2800" dirty="0" smtClean="0"/>
              <a:t>teaching language </a:t>
            </a:r>
            <a:r>
              <a:rPr lang="en-US" sz="2800" dirty="0"/>
              <a:t>cannot be separated from </a:t>
            </a:r>
            <a:r>
              <a:rPr lang="en-US" sz="2800" dirty="0" smtClean="0"/>
              <a:t>teaching intercultural </a:t>
            </a:r>
            <a:r>
              <a:rPr lang="en-US" sz="2800" dirty="0"/>
              <a:t>understandings</a:t>
            </a:r>
            <a:r>
              <a:rPr lang="en-US" sz="2800" dirty="0" smtClean="0"/>
              <a:t>.</a:t>
            </a:r>
          </a:p>
          <a:p>
            <a:pPr marL="171450" indent="-171450">
              <a:buFont typeface="Arial"/>
              <a:buChar char="•"/>
            </a:pPr>
            <a:endParaRPr lang="en-US" sz="1000" dirty="0"/>
          </a:p>
          <a:p>
            <a:pPr marL="457200" indent="-457200">
              <a:buFont typeface="Arial"/>
              <a:buChar char="•"/>
            </a:pPr>
            <a:r>
              <a:rPr lang="en-US" sz="2800" dirty="0" smtClean="0"/>
              <a:t>If all teachers are teachers of language then all teachers are teachers of intercultural understandings.</a:t>
            </a:r>
          </a:p>
          <a:p>
            <a:endParaRPr lang="en-US" sz="1000" dirty="0" smtClean="0"/>
          </a:p>
          <a:p>
            <a:pPr marL="171450" indent="-171450">
              <a:buFont typeface="Arial"/>
              <a:buChar char="•"/>
            </a:pPr>
            <a:endParaRPr lang="en-US" sz="1000" dirty="0"/>
          </a:p>
          <a:p>
            <a:pPr marL="457200" indent="-457200">
              <a:buFont typeface="Arial"/>
              <a:buChar char="•"/>
            </a:pPr>
            <a:r>
              <a:rPr lang="en-US" sz="2800" dirty="0"/>
              <a:t>S</a:t>
            </a:r>
            <a:r>
              <a:rPr lang="en-US" sz="2800" dirty="0" smtClean="0"/>
              <a:t>chool leadership is fundamental in promoting intercultural understandings within the school community. </a:t>
            </a:r>
          </a:p>
          <a:p>
            <a:pPr marL="457200" indent="-457200">
              <a:buFont typeface="Arial"/>
              <a:buChar char="•"/>
            </a:pPr>
            <a:endParaRPr lang="en-US" sz="2800" dirty="0" smtClean="0"/>
          </a:p>
          <a:p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753439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E2751D"/>
                </a:solidFill>
              </a:rPr>
              <a:t>Questions …</a:t>
            </a:r>
            <a:endParaRPr lang="en-US" b="1" dirty="0">
              <a:solidFill>
                <a:srgbClr val="E2751D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rcRect l="-14853" r="-14853"/>
          <a:stretch>
            <a:fillRect/>
          </a:stretch>
        </p:blipFill>
        <p:spPr>
          <a:xfrm>
            <a:off x="1115616" y="1484785"/>
            <a:ext cx="6563072" cy="3312368"/>
          </a:xfrm>
        </p:spPr>
      </p:pic>
      <p:sp>
        <p:nvSpPr>
          <p:cNvPr id="3" name="Rectangle 2"/>
          <p:cNvSpPr/>
          <p:nvPr/>
        </p:nvSpPr>
        <p:spPr>
          <a:xfrm>
            <a:off x="827584" y="4852420"/>
            <a:ext cx="68511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dirty="0" err="1" smtClean="0"/>
              <a:t>Dr</a:t>
            </a:r>
            <a:r>
              <a:rPr lang="en-US" sz="2800" dirty="0" smtClean="0"/>
              <a:t> Susan F Ledger </a:t>
            </a:r>
          </a:p>
          <a:p>
            <a:endParaRPr lang="en-US" sz="1000" dirty="0"/>
          </a:p>
          <a:p>
            <a:r>
              <a:rPr lang="en-US" sz="2800" dirty="0" smtClean="0">
                <a:hlinkClick r:id="rId3"/>
              </a:rPr>
              <a:t>s.ledger@murdoch.edu.au</a:t>
            </a:r>
            <a:endParaRPr lang="en-US" sz="2800" dirty="0" smtClean="0"/>
          </a:p>
          <a:p>
            <a:endParaRPr lang="en-US" sz="1000" dirty="0" smtClean="0"/>
          </a:p>
          <a:p>
            <a:r>
              <a:rPr lang="en-US" sz="2000" dirty="0" smtClean="0"/>
              <a:t>http</a:t>
            </a:r>
            <a:r>
              <a:rPr lang="en-US" sz="2000" dirty="0"/>
              <a:t>://</a:t>
            </a:r>
            <a:r>
              <a:rPr lang="en-US" sz="2000" dirty="0" err="1"/>
              <a:t>profiles.murdoch.edu.au</a:t>
            </a:r>
            <a:r>
              <a:rPr lang="en-US" sz="2000" dirty="0"/>
              <a:t>/</a:t>
            </a:r>
            <a:r>
              <a:rPr lang="en-US" sz="2000" dirty="0" err="1"/>
              <a:t>myprofile</a:t>
            </a:r>
            <a:r>
              <a:rPr lang="en-US" sz="2000" dirty="0"/>
              <a:t>/</a:t>
            </a:r>
            <a:r>
              <a:rPr lang="en-US" sz="2000" dirty="0" err="1"/>
              <a:t>susan</a:t>
            </a:r>
            <a:r>
              <a:rPr lang="en-US" sz="2000" dirty="0"/>
              <a:t>-ledger/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Screen Shot 2014-07-26 at 6.19.42 AM.png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2" r="6632"/>
          <a:stretch>
            <a:fillRect/>
          </a:stretch>
        </p:blipFill>
        <p:spPr>
          <a:xfrm>
            <a:off x="436985" y="976963"/>
            <a:ext cx="8229600" cy="4525963"/>
          </a:xfrm>
        </p:spPr>
      </p:pic>
      <p:sp>
        <p:nvSpPr>
          <p:cNvPr id="4" name="Rectangle 3"/>
          <p:cNvSpPr/>
          <p:nvPr/>
        </p:nvSpPr>
        <p:spPr>
          <a:xfrm>
            <a:off x="1088512" y="120935"/>
            <a:ext cx="675280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 smtClean="0"/>
              <a:t>Educational Research</a:t>
            </a:r>
            <a:endParaRPr lang="en-US" sz="4000" dirty="0"/>
          </a:p>
        </p:txBody>
      </p:sp>
      <p:sp>
        <p:nvSpPr>
          <p:cNvPr id="7" name="TextBox 6"/>
          <p:cNvSpPr txBox="1"/>
          <p:nvPr/>
        </p:nvSpPr>
        <p:spPr>
          <a:xfrm>
            <a:off x="457200" y="6694149"/>
            <a:ext cx="786789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 smtClean="0"/>
              <a:t> </a:t>
            </a:r>
            <a:endParaRPr lang="en-US" sz="4000" dirty="0"/>
          </a:p>
        </p:txBody>
      </p:sp>
      <p:sp>
        <p:nvSpPr>
          <p:cNvPr id="9" name="TextBox 8"/>
          <p:cNvSpPr txBox="1"/>
          <p:nvPr/>
        </p:nvSpPr>
        <p:spPr>
          <a:xfrm>
            <a:off x="457199" y="5616931"/>
            <a:ext cx="820938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 smtClean="0"/>
              <a:t>Pursuit of Knowledge and Problem Solving</a:t>
            </a:r>
          </a:p>
          <a:p>
            <a:pPr algn="ctr"/>
            <a:r>
              <a:rPr lang="en-US" sz="2800" dirty="0" smtClean="0"/>
              <a:t>To help make sense of the world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84315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warp dir="in"/>
      </p:transition>
    </mc:Choice>
    <mc:Fallback xmlns="">
      <p:transition xmlns:p14="http://schemas.microsoft.com/office/powerpoint/2010/main"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>
                <a:solidFill>
                  <a:srgbClr val="E2751D"/>
                </a:solidFill>
              </a:rPr>
              <a:t>Intercultural Understanding</a:t>
            </a:r>
            <a:endParaRPr lang="en-US" b="1" dirty="0">
              <a:solidFill>
                <a:srgbClr val="E2751D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5141168"/>
          </a:xfrm>
        </p:spPr>
        <p:txBody>
          <a:bodyPr/>
          <a:lstStyle/>
          <a:p>
            <a:pPr>
              <a:buNone/>
            </a:pPr>
            <a:r>
              <a:rPr lang="en-US" b="1" dirty="0" smtClean="0"/>
              <a:t>The multi-national research sought to explore the role of Additional Language Teachers (ALTs) in IB PYP schools.</a:t>
            </a:r>
            <a:endParaRPr lang="en-US" b="1" dirty="0"/>
          </a:p>
          <a:p>
            <a:pPr>
              <a:buNone/>
            </a:pPr>
            <a:endParaRPr lang="en-US" b="1" dirty="0" smtClean="0"/>
          </a:p>
          <a:p>
            <a:pPr>
              <a:buNone/>
            </a:pPr>
            <a:r>
              <a:rPr lang="en-US" b="1" dirty="0" smtClean="0"/>
              <a:t>Six countries, five academics and six case study schools</a:t>
            </a:r>
          </a:p>
          <a:p>
            <a:pPr>
              <a:buNone/>
            </a:pPr>
            <a:endParaRPr lang="en-US" b="1" dirty="0" smtClean="0"/>
          </a:p>
          <a:p>
            <a:pPr>
              <a:buNone/>
            </a:pPr>
            <a:r>
              <a:rPr lang="en-US" b="1" dirty="0" smtClean="0"/>
              <a:t>It revealed the importance of leadership structures and pedagogic strategies that promote intercultural understandings within additional language teaching (ALT) and additional language learning (ALL)</a:t>
            </a:r>
          </a:p>
          <a:p>
            <a:pPr>
              <a:buNone/>
            </a:pPr>
            <a:endParaRPr lang="en-US" sz="18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able Placeholder 5"/>
          <p:cNvPicPr>
            <a:picLocks noGrp="1" noChangeAspect="1"/>
          </p:cNvPicPr>
          <p:nvPr>
            <p:ph type="tbl" idx="1"/>
          </p:nvPr>
        </p:nvPicPr>
        <p:blipFill>
          <a:blip r:embed="rId3"/>
          <a:srcRect t="-11499" b="-11499"/>
          <a:stretch>
            <a:fillRect/>
          </a:stretch>
        </p:blipFill>
        <p:spPr>
          <a:xfrm>
            <a:off x="457200" y="1196752"/>
            <a:ext cx="8229600" cy="4248472"/>
          </a:xfrm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457200" y="609600"/>
            <a:ext cx="6705600" cy="808038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rgbClr val="E2751D"/>
                </a:solidFill>
              </a:rPr>
              <a:t>Case Study Overview</a:t>
            </a:r>
            <a:endParaRPr lang="en-US" b="1" dirty="0">
              <a:solidFill>
                <a:srgbClr val="E2751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5576" y="5733256"/>
            <a:ext cx="79312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solidFill>
                  <a:srgbClr val="FF6600"/>
                </a:solidFill>
              </a:rPr>
              <a:t>Data Collection</a:t>
            </a:r>
            <a:r>
              <a:rPr lang="en-US" sz="2400" dirty="0" smtClean="0"/>
              <a:t>: Document analysis, interviews, surveys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514132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1 w 73"/>
              <a:gd name="T3" fmla="*/ 5 h 20"/>
              <a:gd name="T4" fmla="*/ 4 w 73"/>
              <a:gd name="T5" fmla="*/ 10 h 20"/>
              <a:gd name="T6" fmla="*/ 8 w 73"/>
              <a:gd name="T7" fmla="*/ 14 h 20"/>
              <a:gd name="T8" fmla="*/ 13 w 73"/>
              <a:gd name="T9" fmla="*/ 20 h 20"/>
              <a:gd name="T10" fmla="*/ 16 w 73"/>
              <a:gd name="T11" fmla="*/ 17 h 20"/>
              <a:gd name="T12" fmla="*/ 19 w 73"/>
              <a:gd name="T13" fmla="*/ 13 h 20"/>
              <a:gd name="T14" fmla="*/ 23 w 73"/>
              <a:gd name="T15" fmla="*/ 11 h 20"/>
              <a:gd name="T16" fmla="*/ 27 w 73"/>
              <a:gd name="T17" fmla="*/ 10 h 20"/>
              <a:gd name="T18" fmla="*/ 36 w 73"/>
              <a:gd name="T19" fmla="*/ 8 h 20"/>
              <a:gd name="T20" fmla="*/ 46 w 73"/>
              <a:gd name="T21" fmla="*/ 7 h 20"/>
              <a:gd name="T22" fmla="*/ 54 w 73"/>
              <a:gd name="T23" fmla="*/ 7 h 20"/>
              <a:gd name="T24" fmla="*/ 63 w 73"/>
              <a:gd name="T25" fmla="*/ 6 h 20"/>
              <a:gd name="T26" fmla="*/ 66 w 73"/>
              <a:gd name="T27" fmla="*/ 5 h 20"/>
              <a:gd name="T28" fmla="*/ 69 w 73"/>
              <a:gd name="T29" fmla="*/ 4 h 20"/>
              <a:gd name="T30" fmla="*/ 71 w 73"/>
              <a:gd name="T31" fmla="*/ 2 h 20"/>
              <a:gd name="T32" fmla="*/ 73 w 73"/>
              <a:gd name="T33" fmla="*/ 0 h 20"/>
              <a:gd name="T34" fmla="*/ 0 w 73"/>
              <a:gd name="T35" fmla="*/ 0 h 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3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4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accent3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5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6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7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8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59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0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1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2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3366FF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3366FF"/>
              </a:solidFill>
            </a:endParaRPr>
          </a:p>
        </p:txBody>
      </p:sp>
      <p:sp>
        <p:nvSpPr>
          <p:cNvPr id="2063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4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chemeClr val="accent6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65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66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067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2068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69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70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71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FFFF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72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3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4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5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6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7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8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9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0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1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2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83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4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5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086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208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08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089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0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1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2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3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4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5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6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097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8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9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0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1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2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3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4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5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06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21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17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62 h 62"/>
              <a:gd name="T2" fmla="*/ 0 w 33"/>
              <a:gd name="T3" fmla="*/ 53 h 62"/>
              <a:gd name="T4" fmla="*/ 0 w 33"/>
              <a:gd name="T5" fmla="*/ 45 h 62"/>
              <a:gd name="T6" fmla="*/ 0 w 33"/>
              <a:gd name="T7" fmla="*/ 37 h 62"/>
              <a:gd name="T8" fmla="*/ 0 w 33"/>
              <a:gd name="T9" fmla="*/ 31 h 62"/>
              <a:gd name="T10" fmla="*/ 0 w 33"/>
              <a:gd name="T11" fmla="*/ 26 h 62"/>
              <a:gd name="T12" fmla="*/ 2 w 33"/>
              <a:gd name="T13" fmla="*/ 22 h 62"/>
              <a:gd name="T14" fmla="*/ 4 w 33"/>
              <a:gd name="T15" fmla="*/ 17 h 62"/>
              <a:gd name="T16" fmla="*/ 8 w 33"/>
              <a:gd name="T17" fmla="*/ 13 h 62"/>
              <a:gd name="T18" fmla="*/ 14 w 33"/>
              <a:gd name="T19" fmla="*/ 6 h 62"/>
              <a:gd name="T20" fmla="*/ 20 w 33"/>
              <a:gd name="T21" fmla="*/ 0 h 62"/>
              <a:gd name="T22" fmla="*/ 26 w 33"/>
              <a:gd name="T23" fmla="*/ 6 h 62"/>
              <a:gd name="T24" fmla="*/ 33 w 33"/>
              <a:gd name="T25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8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18 h 18"/>
              <a:gd name="T2" fmla="*/ 0 w 26"/>
              <a:gd name="T3" fmla="*/ 0 h 18"/>
              <a:gd name="T4" fmla="*/ 26 w 26"/>
              <a:gd name="T5" fmla="*/ 0 h 18"/>
              <a:gd name="T6" fmla="*/ 6 w 26"/>
              <a:gd name="T7" fmla="*/ 12 h 18"/>
              <a:gd name="T8" fmla="*/ 6 w 26"/>
              <a:gd name="T9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9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180 w 180"/>
              <a:gd name="T1" fmla="*/ 222 h 240"/>
              <a:gd name="T2" fmla="*/ 175 w 180"/>
              <a:gd name="T3" fmla="*/ 223 h 240"/>
              <a:gd name="T4" fmla="*/ 171 w 180"/>
              <a:gd name="T5" fmla="*/ 223 h 240"/>
              <a:gd name="T6" fmla="*/ 167 w 180"/>
              <a:gd name="T7" fmla="*/ 225 h 240"/>
              <a:gd name="T8" fmla="*/ 164 w 180"/>
              <a:gd name="T9" fmla="*/ 227 h 240"/>
              <a:gd name="T10" fmla="*/ 158 w 180"/>
              <a:gd name="T11" fmla="*/ 232 h 240"/>
              <a:gd name="T12" fmla="*/ 153 w 180"/>
              <a:gd name="T13" fmla="*/ 240 h 240"/>
              <a:gd name="T14" fmla="*/ 140 w 180"/>
              <a:gd name="T15" fmla="*/ 232 h 240"/>
              <a:gd name="T16" fmla="*/ 131 w 180"/>
              <a:gd name="T17" fmla="*/ 223 h 240"/>
              <a:gd name="T18" fmla="*/ 123 w 180"/>
              <a:gd name="T19" fmla="*/ 214 h 240"/>
              <a:gd name="T20" fmla="*/ 118 w 180"/>
              <a:gd name="T21" fmla="*/ 206 h 240"/>
              <a:gd name="T22" fmla="*/ 112 w 180"/>
              <a:gd name="T23" fmla="*/ 195 h 240"/>
              <a:gd name="T24" fmla="*/ 106 w 180"/>
              <a:gd name="T25" fmla="*/ 185 h 240"/>
              <a:gd name="T26" fmla="*/ 98 w 180"/>
              <a:gd name="T27" fmla="*/ 174 h 240"/>
              <a:gd name="T28" fmla="*/ 87 w 180"/>
              <a:gd name="T29" fmla="*/ 161 h 240"/>
              <a:gd name="T30" fmla="*/ 82 w 180"/>
              <a:gd name="T31" fmla="*/ 153 h 240"/>
              <a:gd name="T32" fmla="*/ 75 w 180"/>
              <a:gd name="T33" fmla="*/ 146 h 240"/>
              <a:gd name="T34" fmla="*/ 70 w 180"/>
              <a:gd name="T35" fmla="*/ 139 h 240"/>
              <a:gd name="T36" fmla="*/ 62 w 180"/>
              <a:gd name="T37" fmla="*/ 133 h 240"/>
              <a:gd name="T38" fmla="*/ 48 w 180"/>
              <a:gd name="T39" fmla="*/ 121 h 240"/>
              <a:gd name="T40" fmla="*/ 33 w 180"/>
              <a:gd name="T41" fmla="*/ 110 h 240"/>
              <a:gd name="T42" fmla="*/ 27 w 180"/>
              <a:gd name="T43" fmla="*/ 104 h 240"/>
              <a:gd name="T44" fmla="*/ 21 w 180"/>
              <a:gd name="T45" fmla="*/ 98 h 240"/>
              <a:gd name="T46" fmla="*/ 15 w 180"/>
              <a:gd name="T47" fmla="*/ 92 h 240"/>
              <a:gd name="T48" fmla="*/ 10 w 180"/>
              <a:gd name="T49" fmla="*/ 84 h 240"/>
              <a:gd name="T50" fmla="*/ 6 w 180"/>
              <a:gd name="T51" fmla="*/ 77 h 240"/>
              <a:gd name="T52" fmla="*/ 4 w 180"/>
              <a:gd name="T53" fmla="*/ 68 h 240"/>
              <a:gd name="T54" fmla="*/ 1 w 180"/>
              <a:gd name="T55" fmla="*/ 60 h 240"/>
              <a:gd name="T56" fmla="*/ 0 w 180"/>
              <a:gd name="T57" fmla="*/ 50 h 240"/>
              <a:gd name="T58" fmla="*/ 0 w 180"/>
              <a:gd name="T59" fmla="*/ 35 h 240"/>
              <a:gd name="T60" fmla="*/ 0 w 180"/>
              <a:gd name="T61" fmla="*/ 25 h 240"/>
              <a:gd name="T62" fmla="*/ 0 w 180"/>
              <a:gd name="T63" fmla="*/ 15 h 240"/>
              <a:gd name="T64" fmla="*/ 0 w 180"/>
              <a:gd name="T65" fmla="*/ 0 h 240"/>
              <a:gd name="T66" fmla="*/ 10 w 180"/>
              <a:gd name="T67" fmla="*/ 8 h 240"/>
              <a:gd name="T68" fmla="*/ 19 w 180"/>
              <a:gd name="T69" fmla="*/ 17 h 240"/>
              <a:gd name="T70" fmla="*/ 27 w 180"/>
              <a:gd name="T71" fmla="*/ 27 h 240"/>
              <a:gd name="T72" fmla="*/ 34 w 180"/>
              <a:gd name="T73" fmla="*/ 38 h 240"/>
              <a:gd name="T74" fmla="*/ 41 w 180"/>
              <a:gd name="T75" fmla="*/ 48 h 240"/>
              <a:gd name="T76" fmla="*/ 46 w 180"/>
              <a:gd name="T77" fmla="*/ 58 h 240"/>
              <a:gd name="T78" fmla="*/ 51 w 180"/>
              <a:gd name="T79" fmla="*/ 66 h 240"/>
              <a:gd name="T80" fmla="*/ 54 w 180"/>
              <a:gd name="T81" fmla="*/ 74 h 240"/>
              <a:gd name="T82" fmla="*/ 60 w 180"/>
              <a:gd name="T83" fmla="*/ 86 h 240"/>
              <a:gd name="T84" fmla="*/ 66 w 180"/>
              <a:gd name="T85" fmla="*/ 98 h 240"/>
              <a:gd name="T86" fmla="*/ 74 w 180"/>
              <a:gd name="T87" fmla="*/ 107 h 240"/>
              <a:gd name="T88" fmla="*/ 82 w 180"/>
              <a:gd name="T89" fmla="*/ 116 h 240"/>
              <a:gd name="T90" fmla="*/ 100 w 180"/>
              <a:gd name="T91" fmla="*/ 133 h 240"/>
              <a:gd name="T92" fmla="*/ 119 w 180"/>
              <a:gd name="T93" fmla="*/ 149 h 240"/>
              <a:gd name="T94" fmla="*/ 139 w 180"/>
              <a:gd name="T95" fmla="*/ 164 h 240"/>
              <a:gd name="T96" fmla="*/ 155 w 180"/>
              <a:gd name="T97" fmla="*/ 180 h 240"/>
              <a:gd name="T98" fmla="*/ 163 w 180"/>
              <a:gd name="T99" fmla="*/ 189 h 240"/>
              <a:gd name="T100" fmla="*/ 169 w 180"/>
              <a:gd name="T101" fmla="*/ 199 h 240"/>
              <a:gd name="T102" fmla="*/ 175 w 180"/>
              <a:gd name="T103" fmla="*/ 210 h 240"/>
              <a:gd name="T104" fmla="*/ 180 w 180"/>
              <a:gd name="T105" fmla="*/ 22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0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1 w 27"/>
              <a:gd name="T3" fmla="*/ 5 h 30"/>
              <a:gd name="T4" fmla="*/ 3 w 27"/>
              <a:gd name="T5" fmla="*/ 11 h 30"/>
              <a:gd name="T6" fmla="*/ 4 w 27"/>
              <a:gd name="T7" fmla="*/ 14 h 30"/>
              <a:gd name="T8" fmla="*/ 4 w 27"/>
              <a:gd name="T9" fmla="*/ 19 h 30"/>
              <a:gd name="T10" fmla="*/ 3 w 27"/>
              <a:gd name="T11" fmla="*/ 24 h 30"/>
              <a:gd name="T12" fmla="*/ 0 w 27"/>
              <a:gd name="T13" fmla="*/ 30 h 30"/>
              <a:gd name="T14" fmla="*/ 17 w 27"/>
              <a:gd name="T15" fmla="*/ 27 h 30"/>
              <a:gd name="T16" fmla="*/ 27 w 27"/>
              <a:gd name="T17" fmla="*/ 24 h 30"/>
              <a:gd name="T18" fmla="*/ 23 w 27"/>
              <a:gd name="T19" fmla="*/ 20 h 30"/>
              <a:gd name="T20" fmla="*/ 17 w 27"/>
              <a:gd name="T21" fmla="*/ 12 h 30"/>
              <a:gd name="T22" fmla="*/ 11 w 27"/>
              <a:gd name="T23" fmla="*/ 8 h 30"/>
              <a:gd name="T24" fmla="*/ 7 w 27"/>
              <a:gd name="T25" fmla="*/ 4 h 30"/>
              <a:gd name="T26" fmla="*/ 4 w 27"/>
              <a:gd name="T27" fmla="*/ 1 h 30"/>
              <a:gd name="T28" fmla="*/ 0 w 27"/>
              <a:gd name="T2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21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2122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23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24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25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6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5 w 33"/>
              <a:gd name="T3" fmla="*/ 5 h 24"/>
              <a:gd name="T4" fmla="*/ 10 w 33"/>
              <a:gd name="T5" fmla="*/ 10 h 24"/>
              <a:gd name="T6" fmla="*/ 11 w 33"/>
              <a:gd name="T7" fmla="*/ 13 h 24"/>
              <a:gd name="T8" fmla="*/ 12 w 33"/>
              <a:gd name="T9" fmla="*/ 16 h 24"/>
              <a:gd name="T10" fmla="*/ 13 w 33"/>
              <a:gd name="T11" fmla="*/ 20 h 24"/>
              <a:gd name="T12" fmla="*/ 13 w 33"/>
              <a:gd name="T13" fmla="*/ 24 h 24"/>
              <a:gd name="T14" fmla="*/ 33 w 33"/>
              <a:gd name="T15" fmla="*/ 0 h 24"/>
              <a:gd name="T16" fmla="*/ 24 w 33"/>
              <a:gd name="T17" fmla="*/ 0 h 24"/>
              <a:gd name="T18" fmla="*/ 16 w 33"/>
              <a:gd name="T19" fmla="*/ 0 h 24"/>
              <a:gd name="T20" fmla="*/ 9 w 33"/>
              <a:gd name="T21" fmla="*/ 0 h 24"/>
              <a:gd name="T22" fmla="*/ 0 w 33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7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26 w 33"/>
              <a:gd name="T1" fmla="*/ 25 h 25"/>
              <a:gd name="T2" fmla="*/ 29 w 33"/>
              <a:gd name="T3" fmla="*/ 22 h 25"/>
              <a:gd name="T4" fmla="*/ 33 w 33"/>
              <a:gd name="T5" fmla="*/ 18 h 25"/>
              <a:gd name="T6" fmla="*/ 33 w 33"/>
              <a:gd name="T7" fmla="*/ 0 h 25"/>
              <a:gd name="T8" fmla="*/ 25 w 33"/>
              <a:gd name="T9" fmla="*/ 0 h 25"/>
              <a:gd name="T10" fmla="*/ 16 w 33"/>
              <a:gd name="T11" fmla="*/ 0 h 25"/>
              <a:gd name="T12" fmla="*/ 6 w 33"/>
              <a:gd name="T13" fmla="*/ 0 h 25"/>
              <a:gd name="T14" fmla="*/ 0 w 33"/>
              <a:gd name="T15" fmla="*/ 0 h 25"/>
              <a:gd name="T16" fmla="*/ 26 w 33"/>
              <a:gd name="T1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8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9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0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1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2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3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4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5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20 w 73"/>
              <a:gd name="T2" fmla="*/ 37 w 73"/>
              <a:gd name="T3" fmla="*/ 55 w 73"/>
              <a:gd name="T4" fmla="*/ 73 w 7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6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14 w 53"/>
              <a:gd name="T3" fmla="*/ 0 h 3"/>
              <a:gd name="T4" fmla="*/ 27 w 53"/>
              <a:gd name="T5" fmla="*/ 3 h 3"/>
              <a:gd name="T6" fmla="*/ 32 w 53"/>
              <a:gd name="T7" fmla="*/ 3 h 3"/>
              <a:gd name="T8" fmla="*/ 39 w 53"/>
              <a:gd name="T9" fmla="*/ 3 h 3"/>
              <a:gd name="T10" fmla="*/ 45 w 53"/>
              <a:gd name="T11" fmla="*/ 1 h 3"/>
              <a:gd name="T12" fmla="*/ 53 w 53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7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38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39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0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41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42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2143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4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5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6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7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48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49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50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51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5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19 h 62"/>
              <a:gd name="T2" fmla="*/ 11 w 126"/>
              <a:gd name="T3" fmla="*/ 20 h 62"/>
              <a:gd name="T4" fmla="*/ 21 w 126"/>
              <a:gd name="T5" fmla="*/ 21 h 62"/>
              <a:gd name="T6" fmla="*/ 29 w 126"/>
              <a:gd name="T7" fmla="*/ 23 h 62"/>
              <a:gd name="T8" fmla="*/ 36 w 126"/>
              <a:gd name="T9" fmla="*/ 26 h 62"/>
              <a:gd name="T10" fmla="*/ 50 w 126"/>
              <a:gd name="T11" fmla="*/ 33 h 62"/>
              <a:gd name="T12" fmla="*/ 61 w 126"/>
              <a:gd name="T13" fmla="*/ 40 h 62"/>
              <a:gd name="T14" fmla="*/ 70 w 126"/>
              <a:gd name="T15" fmla="*/ 48 h 62"/>
              <a:gd name="T16" fmla="*/ 79 w 126"/>
              <a:gd name="T17" fmla="*/ 55 h 62"/>
              <a:gd name="T18" fmla="*/ 84 w 126"/>
              <a:gd name="T19" fmla="*/ 58 h 62"/>
              <a:gd name="T20" fmla="*/ 89 w 126"/>
              <a:gd name="T21" fmla="*/ 60 h 62"/>
              <a:gd name="T22" fmla="*/ 95 w 126"/>
              <a:gd name="T23" fmla="*/ 61 h 62"/>
              <a:gd name="T24" fmla="*/ 100 w 126"/>
              <a:gd name="T25" fmla="*/ 62 h 62"/>
              <a:gd name="T26" fmla="*/ 105 w 126"/>
              <a:gd name="T27" fmla="*/ 61 h 62"/>
              <a:gd name="T28" fmla="*/ 109 w 126"/>
              <a:gd name="T29" fmla="*/ 60 h 62"/>
              <a:gd name="T30" fmla="*/ 113 w 126"/>
              <a:gd name="T31" fmla="*/ 58 h 62"/>
              <a:gd name="T32" fmla="*/ 117 w 126"/>
              <a:gd name="T33" fmla="*/ 56 h 62"/>
              <a:gd name="T34" fmla="*/ 122 w 126"/>
              <a:gd name="T35" fmla="*/ 51 h 62"/>
              <a:gd name="T36" fmla="*/ 126 w 126"/>
              <a:gd name="T37" fmla="*/ 49 h 62"/>
              <a:gd name="T38" fmla="*/ 110 w 126"/>
              <a:gd name="T39" fmla="*/ 33 h 62"/>
              <a:gd name="T40" fmla="*/ 96 w 126"/>
              <a:gd name="T41" fmla="*/ 21 h 62"/>
              <a:gd name="T42" fmla="*/ 89 w 126"/>
              <a:gd name="T43" fmla="*/ 15 h 62"/>
              <a:gd name="T44" fmla="*/ 81 w 126"/>
              <a:gd name="T45" fmla="*/ 9 h 62"/>
              <a:gd name="T46" fmla="*/ 72 w 126"/>
              <a:gd name="T47" fmla="*/ 5 h 62"/>
              <a:gd name="T48" fmla="*/ 61 w 126"/>
              <a:gd name="T49" fmla="*/ 0 h 62"/>
              <a:gd name="T50" fmla="*/ 0 w 126"/>
              <a:gd name="T51" fmla="*/ 0 h 62"/>
              <a:gd name="T52" fmla="*/ 0 w 126"/>
              <a:gd name="T53" fmla="*/ 9 h 62"/>
              <a:gd name="T54" fmla="*/ 0 w 126"/>
              <a:gd name="T55" fmla="*/ 19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5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6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16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2166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7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8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69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0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1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2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3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4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5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6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77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8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79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0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1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2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3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4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5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6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7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88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89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0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1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192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3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4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5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6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197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2198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199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0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1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2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3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4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5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206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0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0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1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21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2213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4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5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216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217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8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19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0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1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12 h 55"/>
              <a:gd name="T2" fmla="*/ 1 w 53"/>
              <a:gd name="T3" fmla="*/ 17 h 55"/>
              <a:gd name="T4" fmla="*/ 5 w 53"/>
              <a:gd name="T5" fmla="*/ 22 h 55"/>
              <a:gd name="T6" fmla="*/ 9 w 53"/>
              <a:gd name="T7" fmla="*/ 27 h 55"/>
              <a:gd name="T8" fmla="*/ 15 w 53"/>
              <a:gd name="T9" fmla="*/ 33 h 55"/>
              <a:gd name="T10" fmla="*/ 26 w 53"/>
              <a:gd name="T11" fmla="*/ 44 h 55"/>
              <a:gd name="T12" fmla="*/ 33 w 53"/>
              <a:gd name="T13" fmla="*/ 55 h 55"/>
              <a:gd name="T14" fmla="*/ 53 w 53"/>
              <a:gd name="T15" fmla="*/ 55 h 55"/>
              <a:gd name="T16" fmla="*/ 40 w 53"/>
              <a:gd name="T17" fmla="*/ 41 h 55"/>
              <a:gd name="T18" fmla="*/ 28 w 53"/>
              <a:gd name="T19" fmla="*/ 29 h 55"/>
              <a:gd name="T20" fmla="*/ 23 w 53"/>
              <a:gd name="T21" fmla="*/ 23 h 55"/>
              <a:gd name="T22" fmla="*/ 19 w 53"/>
              <a:gd name="T23" fmla="*/ 16 h 55"/>
              <a:gd name="T24" fmla="*/ 16 w 53"/>
              <a:gd name="T25" fmla="*/ 8 h 55"/>
              <a:gd name="T26" fmla="*/ 14 w 53"/>
              <a:gd name="T27" fmla="*/ 0 h 55"/>
              <a:gd name="T28" fmla="*/ 7 w 53"/>
              <a:gd name="T29" fmla="*/ 6 h 55"/>
              <a:gd name="T30" fmla="*/ 0 w 53"/>
              <a:gd name="T31" fmla="*/ 1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2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32 h 75"/>
              <a:gd name="T2" fmla="*/ 9 w 65"/>
              <a:gd name="T3" fmla="*/ 43 h 75"/>
              <a:gd name="T4" fmla="*/ 20 w 65"/>
              <a:gd name="T5" fmla="*/ 55 h 75"/>
              <a:gd name="T6" fmla="*/ 26 w 65"/>
              <a:gd name="T7" fmla="*/ 61 h 75"/>
              <a:gd name="T8" fmla="*/ 32 w 65"/>
              <a:gd name="T9" fmla="*/ 67 h 75"/>
              <a:gd name="T10" fmla="*/ 39 w 65"/>
              <a:gd name="T11" fmla="*/ 71 h 75"/>
              <a:gd name="T12" fmla="*/ 46 w 65"/>
              <a:gd name="T13" fmla="*/ 75 h 75"/>
              <a:gd name="T14" fmla="*/ 51 w 65"/>
              <a:gd name="T15" fmla="*/ 61 h 75"/>
              <a:gd name="T16" fmla="*/ 58 w 65"/>
              <a:gd name="T17" fmla="*/ 48 h 75"/>
              <a:gd name="T18" fmla="*/ 61 w 65"/>
              <a:gd name="T19" fmla="*/ 42 h 75"/>
              <a:gd name="T20" fmla="*/ 63 w 65"/>
              <a:gd name="T21" fmla="*/ 36 h 75"/>
              <a:gd name="T22" fmla="*/ 65 w 65"/>
              <a:gd name="T23" fmla="*/ 31 h 75"/>
              <a:gd name="T24" fmla="*/ 65 w 65"/>
              <a:gd name="T25" fmla="*/ 26 h 75"/>
              <a:gd name="T26" fmla="*/ 65 w 65"/>
              <a:gd name="T27" fmla="*/ 21 h 75"/>
              <a:gd name="T28" fmla="*/ 63 w 65"/>
              <a:gd name="T29" fmla="*/ 18 h 75"/>
              <a:gd name="T30" fmla="*/ 61 w 65"/>
              <a:gd name="T31" fmla="*/ 13 h 75"/>
              <a:gd name="T32" fmla="*/ 58 w 65"/>
              <a:gd name="T33" fmla="*/ 10 h 75"/>
              <a:gd name="T34" fmla="*/ 51 w 65"/>
              <a:gd name="T35" fmla="*/ 5 h 75"/>
              <a:gd name="T36" fmla="*/ 46 w 65"/>
              <a:gd name="T37" fmla="*/ 0 h 75"/>
              <a:gd name="T38" fmla="*/ 34 w 65"/>
              <a:gd name="T39" fmla="*/ 0 h 75"/>
              <a:gd name="T40" fmla="*/ 26 w 65"/>
              <a:gd name="T41" fmla="*/ 0 h 75"/>
              <a:gd name="T42" fmla="*/ 25 w 65"/>
              <a:gd name="T43" fmla="*/ 2 h 75"/>
              <a:gd name="T44" fmla="*/ 24 w 65"/>
              <a:gd name="T45" fmla="*/ 7 h 75"/>
              <a:gd name="T46" fmla="*/ 23 w 65"/>
              <a:gd name="T47" fmla="*/ 9 h 75"/>
              <a:gd name="T48" fmla="*/ 23 w 65"/>
              <a:gd name="T49" fmla="*/ 11 h 75"/>
              <a:gd name="T50" fmla="*/ 24 w 65"/>
              <a:gd name="T51" fmla="*/ 12 h 75"/>
              <a:gd name="T52" fmla="*/ 26 w 65"/>
              <a:gd name="T53" fmla="*/ 13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3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62 h 62"/>
              <a:gd name="T2" fmla="*/ 3 w 40"/>
              <a:gd name="T3" fmla="*/ 52 h 62"/>
              <a:gd name="T4" fmla="*/ 7 w 40"/>
              <a:gd name="T5" fmla="*/ 43 h 62"/>
              <a:gd name="T6" fmla="*/ 12 w 40"/>
              <a:gd name="T7" fmla="*/ 33 h 62"/>
              <a:gd name="T8" fmla="*/ 17 w 40"/>
              <a:gd name="T9" fmla="*/ 25 h 62"/>
              <a:gd name="T10" fmla="*/ 23 w 40"/>
              <a:gd name="T11" fmla="*/ 17 h 62"/>
              <a:gd name="T12" fmla="*/ 29 w 40"/>
              <a:gd name="T13" fmla="*/ 9 h 62"/>
              <a:gd name="T14" fmla="*/ 35 w 40"/>
              <a:gd name="T15" fmla="*/ 3 h 62"/>
              <a:gd name="T16" fmla="*/ 40 w 40"/>
              <a:gd name="T1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4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159 w 159"/>
              <a:gd name="T1" fmla="*/ 259 h 259"/>
              <a:gd name="T2" fmla="*/ 159 w 159"/>
              <a:gd name="T3" fmla="*/ 251 h 259"/>
              <a:gd name="T4" fmla="*/ 159 w 159"/>
              <a:gd name="T5" fmla="*/ 244 h 259"/>
              <a:gd name="T6" fmla="*/ 159 w 159"/>
              <a:gd name="T7" fmla="*/ 236 h 259"/>
              <a:gd name="T8" fmla="*/ 159 w 159"/>
              <a:gd name="T9" fmla="*/ 228 h 259"/>
              <a:gd name="T10" fmla="*/ 159 w 159"/>
              <a:gd name="T11" fmla="*/ 224 h 259"/>
              <a:gd name="T12" fmla="*/ 158 w 159"/>
              <a:gd name="T13" fmla="*/ 219 h 259"/>
              <a:gd name="T14" fmla="*/ 156 w 159"/>
              <a:gd name="T15" fmla="*/ 215 h 259"/>
              <a:gd name="T16" fmla="*/ 153 w 159"/>
              <a:gd name="T17" fmla="*/ 210 h 259"/>
              <a:gd name="T18" fmla="*/ 145 w 159"/>
              <a:gd name="T19" fmla="*/ 202 h 259"/>
              <a:gd name="T20" fmla="*/ 135 w 159"/>
              <a:gd name="T21" fmla="*/ 195 h 259"/>
              <a:gd name="T22" fmla="*/ 124 w 159"/>
              <a:gd name="T23" fmla="*/ 189 h 259"/>
              <a:gd name="T24" fmla="*/ 112 w 159"/>
              <a:gd name="T25" fmla="*/ 184 h 259"/>
              <a:gd name="T26" fmla="*/ 99 w 159"/>
              <a:gd name="T27" fmla="*/ 180 h 259"/>
              <a:gd name="T28" fmla="*/ 87 w 159"/>
              <a:gd name="T29" fmla="*/ 179 h 259"/>
              <a:gd name="T30" fmla="*/ 85 w 159"/>
              <a:gd name="T31" fmla="*/ 178 h 259"/>
              <a:gd name="T32" fmla="*/ 82 w 159"/>
              <a:gd name="T33" fmla="*/ 177 h 259"/>
              <a:gd name="T34" fmla="*/ 81 w 159"/>
              <a:gd name="T35" fmla="*/ 175 h 259"/>
              <a:gd name="T36" fmla="*/ 80 w 159"/>
              <a:gd name="T37" fmla="*/ 173 h 259"/>
              <a:gd name="T38" fmla="*/ 80 w 159"/>
              <a:gd name="T39" fmla="*/ 167 h 259"/>
              <a:gd name="T40" fmla="*/ 81 w 159"/>
              <a:gd name="T41" fmla="*/ 161 h 259"/>
              <a:gd name="T42" fmla="*/ 85 w 159"/>
              <a:gd name="T43" fmla="*/ 148 h 259"/>
              <a:gd name="T44" fmla="*/ 87 w 159"/>
              <a:gd name="T45" fmla="*/ 142 h 259"/>
              <a:gd name="T46" fmla="*/ 73 w 159"/>
              <a:gd name="T47" fmla="*/ 141 h 259"/>
              <a:gd name="T48" fmla="*/ 59 w 159"/>
              <a:gd name="T49" fmla="*/ 139 h 259"/>
              <a:gd name="T50" fmla="*/ 48 w 159"/>
              <a:gd name="T51" fmla="*/ 135 h 259"/>
              <a:gd name="T52" fmla="*/ 40 w 159"/>
              <a:gd name="T53" fmla="*/ 129 h 259"/>
              <a:gd name="T54" fmla="*/ 31 w 159"/>
              <a:gd name="T55" fmla="*/ 121 h 259"/>
              <a:gd name="T56" fmla="*/ 24 w 159"/>
              <a:gd name="T57" fmla="*/ 113 h 259"/>
              <a:gd name="T58" fmla="*/ 18 w 159"/>
              <a:gd name="T59" fmla="*/ 104 h 259"/>
              <a:gd name="T60" fmla="*/ 13 w 159"/>
              <a:gd name="T61" fmla="*/ 94 h 259"/>
              <a:gd name="T62" fmla="*/ 9 w 159"/>
              <a:gd name="T63" fmla="*/ 84 h 259"/>
              <a:gd name="T64" fmla="*/ 7 w 159"/>
              <a:gd name="T65" fmla="*/ 73 h 259"/>
              <a:gd name="T66" fmla="*/ 5 w 159"/>
              <a:gd name="T67" fmla="*/ 60 h 259"/>
              <a:gd name="T68" fmla="*/ 2 w 159"/>
              <a:gd name="T69" fmla="*/ 48 h 259"/>
              <a:gd name="T70" fmla="*/ 0 w 159"/>
              <a:gd name="T71" fmla="*/ 25 h 259"/>
              <a:gd name="T72" fmla="*/ 0 w 159"/>
              <a:gd name="T73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5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6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25 h 25"/>
              <a:gd name="T2" fmla="*/ 1 w 13"/>
              <a:gd name="T3" fmla="*/ 19 h 25"/>
              <a:gd name="T4" fmla="*/ 4 w 13"/>
              <a:gd name="T5" fmla="*/ 13 h 25"/>
              <a:gd name="T6" fmla="*/ 8 w 13"/>
              <a:gd name="T7" fmla="*/ 6 h 25"/>
              <a:gd name="T8" fmla="*/ 13 w 13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7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8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100 w 100"/>
              <a:gd name="T1" fmla="*/ 123 h 123"/>
              <a:gd name="T2" fmla="*/ 90 w 100"/>
              <a:gd name="T3" fmla="*/ 122 h 123"/>
              <a:gd name="T4" fmla="*/ 76 w 100"/>
              <a:gd name="T5" fmla="*/ 119 h 123"/>
              <a:gd name="T6" fmla="*/ 60 w 100"/>
              <a:gd name="T7" fmla="*/ 114 h 123"/>
              <a:gd name="T8" fmla="*/ 43 w 100"/>
              <a:gd name="T9" fmla="*/ 107 h 123"/>
              <a:gd name="T10" fmla="*/ 34 w 100"/>
              <a:gd name="T11" fmla="*/ 103 h 123"/>
              <a:gd name="T12" fmla="*/ 27 w 100"/>
              <a:gd name="T13" fmla="*/ 99 h 123"/>
              <a:gd name="T14" fmla="*/ 20 w 100"/>
              <a:gd name="T15" fmla="*/ 94 h 123"/>
              <a:gd name="T16" fmla="*/ 13 w 100"/>
              <a:gd name="T17" fmla="*/ 89 h 123"/>
              <a:gd name="T18" fmla="*/ 8 w 100"/>
              <a:gd name="T19" fmla="*/ 84 h 123"/>
              <a:gd name="T20" fmla="*/ 4 w 100"/>
              <a:gd name="T21" fmla="*/ 79 h 123"/>
              <a:gd name="T22" fmla="*/ 1 w 100"/>
              <a:gd name="T23" fmla="*/ 73 h 123"/>
              <a:gd name="T24" fmla="*/ 0 w 100"/>
              <a:gd name="T25" fmla="*/ 68 h 123"/>
              <a:gd name="T26" fmla="*/ 2 w 100"/>
              <a:gd name="T27" fmla="*/ 55 h 123"/>
              <a:gd name="T28" fmla="*/ 7 w 100"/>
              <a:gd name="T29" fmla="*/ 36 h 123"/>
              <a:gd name="T30" fmla="*/ 11 w 100"/>
              <a:gd name="T31" fmla="*/ 17 h 123"/>
              <a:gd name="T32" fmla="*/ 13 w 100"/>
              <a:gd name="T3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29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0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1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2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33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4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5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6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7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8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9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0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FF66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FF0000"/>
              </a:solidFill>
            </a:endParaRPr>
          </a:p>
        </p:txBody>
      </p:sp>
      <p:sp>
        <p:nvSpPr>
          <p:cNvPr id="2241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42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43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44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5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8 h 19"/>
              <a:gd name="T2" fmla="*/ 7 w 53"/>
              <a:gd name="T3" fmla="*/ 13 h 19"/>
              <a:gd name="T4" fmla="*/ 14 w 53"/>
              <a:gd name="T5" fmla="*/ 17 h 19"/>
              <a:gd name="T6" fmla="*/ 22 w 53"/>
              <a:gd name="T7" fmla="*/ 19 h 19"/>
              <a:gd name="T8" fmla="*/ 29 w 53"/>
              <a:gd name="T9" fmla="*/ 19 h 19"/>
              <a:gd name="T10" fmla="*/ 35 w 53"/>
              <a:gd name="T11" fmla="*/ 18 h 19"/>
              <a:gd name="T12" fmla="*/ 42 w 53"/>
              <a:gd name="T13" fmla="*/ 15 h 19"/>
              <a:gd name="T14" fmla="*/ 47 w 53"/>
              <a:gd name="T15" fmla="*/ 12 h 19"/>
              <a:gd name="T16" fmla="*/ 53 w 53"/>
              <a:gd name="T17" fmla="*/ 8 h 19"/>
              <a:gd name="T18" fmla="*/ 47 w 53"/>
              <a:gd name="T19" fmla="*/ 5 h 19"/>
              <a:gd name="T20" fmla="*/ 42 w 53"/>
              <a:gd name="T21" fmla="*/ 2 h 19"/>
              <a:gd name="T22" fmla="*/ 35 w 53"/>
              <a:gd name="T23" fmla="*/ 1 h 19"/>
              <a:gd name="T24" fmla="*/ 29 w 53"/>
              <a:gd name="T25" fmla="*/ 0 h 19"/>
              <a:gd name="T26" fmla="*/ 22 w 53"/>
              <a:gd name="T27" fmla="*/ 0 h 19"/>
              <a:gd name="T28" fmla="*/ 14 w 53"/>
              <a:gd name="T29" fmla="*/ 1 h 19"/>
              <a:gd name="T30" fmla="*/ 7 w 53"/>
              <a:gd name="T31" fmla="*/ 3 h 19"/>
              <a:gd name="T32" fmla="*/ 0 w 53"/>
              <a:gd name="T33" fmla="*/ 8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6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1 w 80"/>
              <a:gd name="T3" fmla="*/ 6 h 18"/>
              <a:gd name="T4" fmla="*/ 5 w 80"/>
              <a:gd name="T5" fmla="*/ 12 h 18"/>
              <a:gd name="T6" fmla="*/ 8 w 80"/>
              <a:gd name="T7" fmla="*/ 14 h 18"/>
              <a:gd name="T8" fmla="*/ 11 w 80"/>
              <a:gd name="T9" fmla="*/ 16 h 18"/>
              <a:gd name="T10" fmla="*/ 15 w 80"/>
              <a:gd name="T11" fmla="*/ 18 h 18"/>
              <a:gd name="T12" fmla="*/ 20 w 80"/>
              <a:gd name="T13" fmla="*/ 18 h 18"/>
              <a:gd name="T14" fmla="*/ 22 w 80"/>
              <a:gd name="T15" fmla="*/ 15 h 18"/>
              <a:gd name="T16" fmla="*/ 24 w 80"/>
              <a:gd name="T17" fmla="*/ 13 h 18"/>
              <a:gd name="T18" fmla="*/ 26 w 80"/>
              <a:gd name="T19" fmla="*/ 11 h 18"/>
              <a:gd name="T20" fmla="*/ 31 w 80"/>
              <a:gd name="T21" fmla="*/ 10 h 18"/>
              <a:gd name="T22" fmla="*/ 38 w 80"/>
              <a:gd name="T23" fmla="*/ 8 h 18"/>
              <a:gd name="T24" fmla="*/ 47 w 80"/>
              <a:gd name="T25" fmla="*/ 7 h 18"/>
              <a:gd name="T26" fmla="*/ 57 w 80"/>
              <a:gd name="T27" fmla="*/ 7 h 18"/>
              <a:gd name="T28" fmla="*/ 66 w 80"/>
              <a:gd name="T29" fmla="*/ 6 h 18"/>
              <a:gd name="T30" fmla="*/ 70 w 80"/>
              <a:gd name="T31" fmla="*/ 5 h 18"/>
              <a:gd name="T32" fmla="*/ 74 w 80"/>
              <a:gd name="T33" fmla="*/ 4 h 18"/>
              <a:gd name="T34" fmla="*/ 77 w 80"/>
              <a:gd name="T35" fmla="*/ 2 h 18"/>
              <a:gd name="T36" fmla="*/ 80 w 80"/>
              <a:gd name="T37" fmla="*/ 0 h 18"/>
              <a:gd name="T38" fmla="*/ 0 w 80"/>
              <a:gd name="T3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7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8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49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0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1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2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3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5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6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7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8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9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0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1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40 w 73"/>
              <a:gd name="T1" fmla="*/ 0 h 22"/>
              <a:gd name="T2" fmla="*/ 32 w 73"/>
              <a:gd name="T3" fmla="*/ 1 h 22"/>
              <a:gd name="T4" fmla="*/ 26 w 73"/>
              <a:gd name="T5" fmla="*/ 2 h 22"/>
              <a:gd name="T6" fmla="*/ 20 w 73"/>
              <a:gd name="T7" fmla="*/ 5 h 22"/>
              <a:gd name="T8" fmla="*/ 15 w 73"/>
              <a:gd name="T9" fmla="*/ 8 h 22"/>
              <a:gd name="T10" fmla="*/ 6 w 73"/>
              <a:gd name="T11" fmla="*/ 14 h 22"/>
              <a:gd name="T12" fmla="*/ 0 w 73"/>
              <a:gd name="T13" fmla="*/ 19 h 22"/>
              <a:gd name="T14" fmla="*/ 20 w 73"/>
              <a:gd name="T15" fmla="*/ 20 h 22"/>
              <a:gd name="T16" fmla="*/ 39 w 73"/>
              <a:gd name="T17" fmla="*/ 22 h 22"/>
              <a:gd name="T18" fmla="*/ 49 w 73"/>
              <a:gd name="T19" fmla="*/ 22 h 22"/>
              <a:gd name="T20" fmla="*/ 57 w 73"/>
              <a:gd name="T21" fmla="*/ 22 h 22"/>
              <a:gd name="T22" fmla="*/ 65 w 73"/>
              <a:gd name="T23" fmla="*/ 21 h 22"/>
              <a:gd name="T24" fmla="*/ 73 w 73"/>
              <a:gd name="T25" fmla="*/ 19 h 22"/>
              <a:gd name="T26" fmla="*/ 64 w 73"/>
              <a:gd name="T27" fmla="*/ 14 h 22"/>
              <a:gd name="T28" fmla="*/ 56 w 73"/>
              <a:gd name="T29" fmla="*/ 8 h 22"/>
              <a:gd name="T30" fmla="*/ 53 w 73"/>
              <a:gd name="T31" fmla="*/ 5 h 22"/>
              <a:gd name="T32" fmla="*/ 49 w 73"/>
              <a:gd name="T33" fmla="*/ 2 h 22"/>
              <a:gd name="T34" fmla="*/ 44 w 73"/>
              <a:gd name="T35" fmla="*/ 1 h 22"/>
              <a:gd name="T36" fmla="*/ 40 w 73"/>
              <a:gd name="T37" fmla="*/ 0 h 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2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3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4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5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66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7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8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9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0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1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2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3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74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5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6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77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8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79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0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1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2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83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4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5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6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7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8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9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0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1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2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3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4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5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6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7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8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99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0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1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2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3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4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5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6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07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8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9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0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11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2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3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4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5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6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7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8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9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0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1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2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3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4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noFill/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5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6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7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8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9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330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2331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2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3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4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5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6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7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8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39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0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1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2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3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4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5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6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7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48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349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0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1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2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3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354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55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6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7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8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59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0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1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2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3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4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5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6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7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8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69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0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1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2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3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4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5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6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7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8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9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0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1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2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3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4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5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6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7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8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9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0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1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2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3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4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5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6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7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8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99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0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1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2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3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4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5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6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7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8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09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10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2411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2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3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14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15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16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2417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18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19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0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1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2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23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4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5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6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27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28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9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30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31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432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2433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4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5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6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7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438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439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2440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1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2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3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4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5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6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7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8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49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0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1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2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3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4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5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6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7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8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59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0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1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2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3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4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5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6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7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8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69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0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1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2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3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4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5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6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7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8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79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0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1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8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486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490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1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2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3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4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5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6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7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8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99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0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1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2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3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4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5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6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7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838575" y="2047875"/>
            <a:ext cx="295275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08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9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0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11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2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3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4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5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6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7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18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9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0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21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22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3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4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5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6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7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8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9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0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1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2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3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4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5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6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7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8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9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0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1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2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3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4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5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6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7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8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49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0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1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2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3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4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5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6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7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8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59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0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1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2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3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4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5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6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7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8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69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0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1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2572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257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57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575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6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7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8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79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80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81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82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583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2584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5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6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7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88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58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bg1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>
              <a:solidFill>
                <a:srgbClr val="FFFF00"/>
              </a:solidFill>
            </a:endParaRPr>
          </a:p>
        </p:txBody>
      </p:sp>
      <p:sp>
        <p:nvSpPr>
          <p:cNvPr id="259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9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9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9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9" name="Title 1"/>
          <p:cNvSpPr txBox="1">
            <a:spLocks/>
          </p:cNvSpPr>
          <p:nvPr/>
        </p:nvSpPr>
        <p:spPr>
          <a:xfrm>
            <a:off x="457200" y="609600"/>
            <a:ext cx="6705600" cy="808038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b="1" dirty="0">
              <a:solidFill>
                <a:srgbClr val="E2751D"/>
              </a:solidFill>
            </a:endParaRPr>
          </a:p>
        </p:txBody>
      </p:sp>
      <p:sp>
        <p:nvSpPr>
          <p:cNvPr id="550" name="Title 1"/>
          <p:cNvSpPr txBox="1">
            <a:spLocks/>
          </p:cNvSpPr>
          <p:nvPr/>
        </p:nvSpPr>
        <p:spPr>
          <a:xfrm>
            <a:off x="477996" y="5805264"/>
            <a:ext cx="6705600" cy="808038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>
                <a:solidFill>
                  <a:srgbClr val="E2751D"/>
                </a:solidFill>
              </a:rPr>
              <a:t>Case Studies </a:t>
            </a:r>
            <a:endParaRPr lang="en-US" b="1" dirty="0">
              <a:solidFill>
                <a:srgbClr val="E2751D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889875" y="4314825"/>
            <a:ext cx="12541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English Instruction Japanese AL</a:t>
            </a:r>
            <a:endParaRPr lang="en-US" sz="1000" dirty="0"/>
          </a:p>
        </p:txBody>
      </p:sp>
      <p:sp>
        <p:nvSpPr>
          <p:cNvPr id="3" name="TextBox 2"/>
          <p:cNvSpPr txBox="1"/>
          <p:nvPr/>
        </p:nvSpPr>
        <p:spPr>
          <a:xfrm>
            <a:off x="7404100" y="2489200"/>
            <a:ext cx="16323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English instruction Cantonese AL </a:t>
            </a:r>
            <a:endParaRPr lang="en-US" sz="1000" dirty="0"/>
          </a:p>
        </p:txBody>
      </p:sp>
      <p:sp>
        <p:nvSpPr>
          <p:cNvPr id="4" name="TextBox 3"/>
          <p:cNvSpPr txBox="1"/>
          <p:nvPr/>
        </p:nvSpPr>
        <p:spPr>
          <a:xfrm>
            <a:off x="3341688" y="1655779"/>
            <a:ext cx="187166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English instruction German AL</a:t>
            </a:r>
            <a:endParaRPr lang="en-US" sz="1000" dirty="0"/>
          </a:p>
        </p:txBody>
      </p:sp>
      <p:sp>
        <p:nvSpPr>
          <p:cNvPr id="5" name="TextBox 4"/>
          <p:cNvSpPr txBox="1"/>
          <p:nvPr/>
        </p:nvSpPr>
        <p:spPr>
          <a:xfrm>
            <a:off x="2420885" y="2509808"/>
            <a:ext cx="19717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Dual immersion Spanish English. </a:t>
            </a:r>
          </a:p>
          <a:p>
            <a:r>
              <a:rPr lang="en-US" sz="1000" dirty="0" smtClean="0"/>
              <a:t>French German AL</a:t>
            </a:r>
            <a:endParaRPr lang="en-US" sz="1000" dirty="0"/>
          </a:p>
        </p:txBody>
      </p:sp>
      <p:sp>
        <p:nvSpPr>
          <p:cNvPr id="6" name="TextBox 5"/>
          <p:cNvSpPr txBox="1"/>
          <p:nvPr/>
        </p:nvSpPr>
        <p:spPr>
          <a:xfrm>
            <a:off x="-1" y="2705100"/>
            <a:ext cx="21575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Dual Immersion German &amp; English </a:t>
            </a:r>
          </a:p>
          <a:p>
            <a:r>
              <a:rPr lang="en-US" sz="1000" dirty="0" smtClean="0"/>
              <a:t>AL Spanish</a:t>
            </a:r>
            <a:endParaRPr lang="en-US" sz="1000" dirty="0"/>
          </a:p>
        </p:txBody>
      </p:sp>
      <p:sp>
        <p:nvSpPr>
          <p:cNvPr id="7" name="TextBox 6"/>
          <p:cNvSpPr txBox="1"/>
          <p:nvPr/>
        </p:nvSpPr>
        <p:spPr>
          <a:xfrm>
            <a:off x="2869244" y="4797425"/>
            <a:ext cx="24046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Bilingual Spanish &amp; English.  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308599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ontent Placeholder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07167295"/>
              </p:ext>
            </p:extLst>
          </p:nvPr>
        </p:nvGraphicFramePr>
        <p:xfrm>
          <a:off x="457200" y="1600200"/>
          <a:ext cx="8507288" cy="4925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251520" y="609600"/>
            <a:ext cx="7200800" cy="8080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Verdana"/>
                <a:ea typeface="+mj-ea"/>
                <a:cs typeface="Verdana"/>
              </a:defRPr>
            </a:lvl1pPr>
          </a:lstStyle>
          <a:p>
            <a:r>
              <a:rPr lang="en-US" b="1" dirty="0" smtClean="0">
                <a:solidFill>
                  <a:srgbClr val="E2751D"/>
                </a:solidFill>
              </a:rPr>
              <a:t>What impacts intercultural understandings within these settings?</a:t>
            </a:r>
            <a:endParaRPr lang="en-US" b="1" dirty="0">
              <a:solidFill>
                <a:srgbClr val="E2751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4388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5446" y="1885658"/>
            <a:ext cx="9179446" cy="423150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51520" y="6117166"/>
            <a:ext cx="8448996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>
                <a:hlinkClick r:id="rId3"/>
              </a:rPr>
              <a:t>http://</a:t>
            </a:r>
            <a:r>
              <a:rPr lang="en-US" sz="3200" dirty="0" err="1">
                <a:hlinkClick r:id="rId3"/>
              </a:rPr>
              <a:t>www.teacherstandards.aitsl.edu.au</a:t>
            </a:r>
            <a:r>
              <a:rPr lang="en-US" sz="3200" dirty="0">
                <a:hlinkClick r:id="rId3"/>
              </a:rPr>
              <a:t>/</a:t>
            </a:r>
            <a:endParaRPr lang="en-US" sz="3200" dirty="0"/>
          </a:p>
        </p:txBody>
      </p:sp>
      <p:sp>
        <p:nvSpPr>
          <p:cNvPr id="3" name="TextBox 2"/>
          <p:cNvSpPr txBox="1"/>
          <p:nvPr/>
        </p:nvSpPr>
        <p:spPr>
          <a:xfrm>
            <a:off x="245654" y="1300882"/>
            <a:ext cx="6984776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dirty="0" smtClean="0"/>
              <a:t>Australian Professional Standards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39552" y="476672"/>
            <a:ext cx="5688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600" b="1" dirty="0" smtClean="0">
                <a:solidFill>
                  <a:srgbClr val="E2751D"/>
                </a:solidFill>
              </a:rPr>
              <a:t>Australian Context</a:t>
            </a:r>
            <a:endParaRPr lang="en-US" sz="3600" b="1" dirty="0">
              <a:solidFill>
                <a:srgbClr val="E2751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481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26279"/>
            <a:ext cx="8229600" cy="595312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ustralian Curriculum</a:t>
            </a:r>
            <a:endParaRPr lang="en-US" dirty="0"/>
          </a:p>
        </p:txBody>
      </p:sp>
      <p:pic>
        <p:nvPicPr>
          <p:cNvPr id="4" name="Table Placeholder 3"/>
          <p:cNvPicPr>
            <a:picLocks noGrp="1" noChangeAspect="1"/>
          </p:cNvPicPr>
          <p:nvPr>
            <p:ph type="tbl" idx="1"/>
          </p:nvPr>
        </p:nvPicPr>
        <p:blipFill>
          <a:blip r:embed="rId2"/>
          <a:srcRect l="-31415" r="-31415"/>
          <a:stretch>
            <a:fillRect/>
          </a:stretch>
        </p:blipFill>
        <p:spPr>
          <a:xfrm>
            <a:off x="-2268760" y="821591"/>
            <a:ext cx="11737304" cy="6036409"/>
          </a:xfrm>
        </p:spPr>
      </p:pic>
      <p:sp>
        <p:nvSpPr>
          <p:cNvPr id="5" name="TextBox 4"/>
          <p:cNvSpPr txBox="1"/>
          <p:nvPr/>
        </p:nvSpPr>
        <p:spPr>
          <a:xfrm rot="3633767">
            <a:off x="4770974" y="3353940"/>
            <a:ext cx="538889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hlinkClick r:id="rId3"/>
              </a:rPr>
              <a:t>http://</a:t>
            </a:r>
            <a:r>
              <a:rPr lang="en-US" sz="2400" dirty="0" err="1">
                <a:hlinkClick r:id="rId3"/>
              </a:rPr>
              <a:t>www.australiancurriculum.edu.au</a:t>
            </a:r>
            <a:r>
              <a:rPr lang="en-US" sz="2400" dirty="0">
                <a:hlinkClick r:id="rId3"/>
              </a:rPr>
              <a:t>/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8649676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921" y="519907"/>
            <a:ext cx="8229600" cy="595312"/>
          </a:xfrm>
        </p:spPr>
        <p:txBody>
          <a:bodyPr>
            <a:normAutofit fontScale="90000"/>
          </a:bodyPr>
          <a:lstStyle/>
          <a:p>
            <a:r>
              <a:rPr lang="en-US" b="1" dirty="0" smtClean="0">
                <a:solidFill>
                  <a:srgbClr val="E2751D"/>
                </a:solidFill>
              </a:rPr>
              <a:t>Australian Findings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7952" y="1388557"/>
            <a:ext cx="8892480" cy="69249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800" dirty="0" smtClean="0"/>
              <a:t>Principal and PYP Coordinator drove </a:t>
            </a:r>
            <a:r>
              <a:rPr lang="en-US" sz="2800" dirty="0" err="1" smtClean="0"/>
              <a:t>organisational</a:t>
            </a:r>
            <a:r>
              <a:rPr lang="en-US" sz="2800" dirty="0" smtClean="0"/>
              <a:t> change to support Additional Language Teaching and Learning</a:t>
            </a:r>
          </a:p>
          <a:p>
            <a:pPr marL="457200" indent="-457200">
              <a:buFont typeface="Arial"/>
              <a:buChar char="•"/>
            </a:pPr>
            <a:endParaRPr lang="en-US" sz="1000" dirty="0"/>
          </a:p>
          <a:p>
            <a:pPr marL="457200" indent="-457200">
              <a:buFont typeface="Arial"/>
              <a:buChar char="•"/>
            </a:pPr>
            <a:r>
              <a:rPr lang="en-US" sz="2800" dirty="0" smtClean="0"/>
              <a:t>Integration of AL throughout school’s curriculum and school community</a:t>
            </a:r>
          </a:p>
          <a:p>
            <a:pPr marL="457200" indent="-457200">
              <a:buFont typeface="Arial"/>
              <a:buChar char="•"/>
            </a:pPr>
            <a:endParaRPr lang="en-US" sz="1000" dirty="0"/>
          </a:p>
          <a:p>
            <a:pPr marL="457200" indent="-457200">
              <a:buFont typeface="Arial"/>
              <a:buChar char="•"/>
            </a:pPr>
            <a:r>
              <a:rPr lang="en-US" sz="2800" dirty="0" smtClean="0"/>
              <a:t>Intercultural language learning took place in and beyond AL classroom</a:t>
            </a:r>
          </a:p>
          <a:p>
            <a:pPr marL="457200" indent="-457200">
              <a:buFont typeface="Arial"/>
              <a:buChar char="•"/>
            </a:pPr>
            <a:endParaRPr lang="en-US" sz="1000" dirty="0" smtClean="0"/>
          </a:p>
          <a:p>
            <a:pPr marL="457200" indent="-457200">
              <a:buFont typeface="Arial"/>
              <a:buChar char="•"/>
            </a:pPr>
            <a:r>
              <a:rPr lang="en-US" sz="2800" dirty="0"/>
              <a:t>I</a:t>
            </a:r>
            <a:r>
              <a:rPr lang="en-US" sz="2800" dirty="0" smtClean="0"/>
              <a:t>ntegration of language, culture and learning was used to develop understanding of own and additional language and culture</a:t>
            </a:r>
          </a:p>
          <a:p>
            <a:endParaRPr lang="en-US" sz="2800" dirty="0" smtClean="0"/>
          </a:p>
          <a:p>
            <a:endParaRPr lang="en-US" sz="2800" dirty="0"/>
          </a:p>
          <a:p>
            <a:endParaRPr lang="en-US" sz="2800" dirty="0" smtClean="0"/>
          </a:p>
          <a:p>
            <a:endParaRPr lang="en-US" sz="3200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4461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PowerpointTemplate4.1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rtin University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63366"/>
      </a:accent1>
      <a:accent2>
        <a:srgbClr val="B58C0A"/>
      </a:accent2>
      <a:accent3>
        <a:srgbClr val="FFFFFF"/>
      </a:accent3>
      <a:accent4>
        <a:srgbClr val="000000"/>
      </a:accent4>
      <a:accent5>
        <a:srgbClr val="B8ADB8"/>
      </a:accent5>
      <a:accent6>
        <a:srgbClr val="A47E08"/>
      </a:accent6>
      <a:hlink>
        <a:srgbClr val="005B85"/>
      </a:hlink>
      <a:folHlink>
        <a:srgbClr val="6633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Template4.1.potx</Template>
  <TotalTime>2135</TotalTime>
  <Words>603</Words>
  <Application>Microsoft Office PowerPoint</Application>
  <PresentationFormat>On-screen Show (4:3)</PresentationFormat>
  <Paragraphs>106</Paragraphs>
  <Slides>14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PowerpointTemplate4.1</vt:lpstr>
      <vt:lpstr>Office Theme</vt:lpstr>
      <vt:lpstr>More than a second language: Leadership structures and pedagogic strategies – across six countries     AIE Mumbai, October 2014</vt:lpstr>
      <vt:lpstr>PowerPoint Presentation</vt:lpstr>
      <vt:lpstr>Intercultural Understanding</vt:lpstr>
      <vt:lpstr>Case Study Overview</vt:lpstr>
      <vt:lpstr>PowerPoint Presentation</vt:lpstr>
      <vt:lpstr>PowerPoint Presentation</vt:lpstr>
      <vt:lpstr>PowerPoint Presentation</vt:lpstr>
      <vt:lpstr>Australian Curriculum</vt:lpstr>
      <vt:lpstr>Australian Findings</vt:lpstr>
      <vt:lpstr>Overall findings</vt:lpstr>
      <vt:lpstr>Beliefs </vt:lpstr>
      <vt:lpstr>Discussion  &amp; links to research</vt:lpstr>
      <vt:lpstr>Conclusion </vt:lpstr>
      <vt:lpstr>Questions …</vt:lpstr>
    </vt:vector>
  </TitlesOfParts>
  <Company>Murdoch Universit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fessional Experience Meeting</dc:title>
  <dc:creator>administrator</dc:creator>
  <cp:lastModifiedBy>Carolina Salter</cp:lastModifiedBy>
  <cp:revision>63</cp:revision>
  <cp:lastPrinted>2013-06-13T07:15:50Z</cp:lastPrinted>
  <dcterms:created xsi:type="dcterms:W3CDTF">2013-06-07T05:21:35Z</dcterms:created>
  <dcterms:modified xsi:type="dcterms:W3CDTF">2014-11-10T18:21:31Z</dcterms:modified>
</cp:coreProperties>
</file>